
<file path=[Content_Types].xml><?xml version="1.0" encoding="utf-8"?>
<Types xmlns="http://schemas.openxmlformats.org/package/2006/content-types">
  <Default Extension="bin" ContentType="application/vnd.openxmlformats-officedocument.oleObject"/>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751" r:id="rId4"/>
  </p:sldMasterIdLst>
  <p:notesMasterIdLst>
    <p:notesMasterId r:id="rId10"/>
  </p:notesMasterIdLst>
  <p:handoutMasterIdLst>
    <p:handoutMasterId r:id="rId11"/>
  </p:handoutMasterIdLst>
  <p:sldIdLst>
    <p:sldId id="258" r:id="rId5"/>
    <p:sldId id="765" r:id="rId6"/>
    <p:sldId id="1878" r:id="rId7"/>
    <p:sldId id="274" r:id="rId8"/>
    <p:sldId id="1869" r:id="rId9"/>
  </p:sldIdLst>
  <p:sldSz cx="9906000" cy="6858000" type="A4"/>
  <p:notesSz cx="6794500" cy="9931400"/>
  <p:embeddedFontLst>
    <p:embeddedFont>
      <p:font typeface="Calibri" panose="020F0502020204030204" pitchFamily="34" charset="0"/>
      <p:regular r:id="rId12"/>
      <p:bold r:id="rId13"/>
      <p:italic r:id="rId14"/>
      <p:boldItalic r:id="rId15"/>
    </p:embeddedFont>
    <p:embeddedFont>
      <p:font typeface="Poppins" panose="00000500000000000000" pitchFamily="2" charset="0"/>
      <p:regular r:id="rId16"/>
      <p:bold r:id="rId17"/>
      <p:italic r:id="rId18"/>
      <p:boldItalic r:id="rId19"/>
    </p:embeddedFont>
    <p:embeddedFont>
      <p:font typeface="Poppins Black" panose="00000A00000000000000" pitchFamily="2" charset="0"/>
      <p:bold r:id="rId20"/>
      <p:italic r:id="rId21"/>
      <p:boldItalic r:id="rId22"/>
    </p:embeddedFont>
    <p:embeddedFont>
      <p:font typeface="Poppins Medium" panose="00000600000000000000" pitchFamily="2" charset="0"/>
      <p:regular r:id="rId23"/>
      <p:italic r:id="rId24"/>
    </p:embeddedFont>
  </p:embeddedFontLst>
  <p:custDataLst>
    <p:tags r:id="rId25"/>
  </p:custDataLst>
  <p:defaultTextStyle>
    <a:defPPr>
      <a:defRPr lang="en-US"/>
    </a:defPPr>
    <a:lvl1pPr algn="ctr" rtl="0" eaLnBrk="0" fontAlgn="base" hangingPunct="0">
      <a:spcBef>
        <a:spcPct val="50000"/>
      </a:spcBef>
      <a:spcAft>
        <a:spcPct val="0"/>
      </a:spcAft>
      <a:defRPr sz="1200" kern="1200">
        <a:solidFill>
          <a:schemeClr val="tx1"/>
        </a:solidFill>
        <a:latin typeface="Arial" charset="0"/>
        <a:ea typeface="+mn-ea"/>
        <a:cs typeface="+mn-cs"/>
      </a:defRPr>
    </a:lvl1pPr>
    <a:lvl2pPr marL="457200" algn="ctr" rtl="0" eaLnBrk="0" fontAlgn="base" hangingPunct="0">
      <a:spcBef>
        <a:spcPct val="50000"/>
      </a:spcBef>
      <a:spcAft>
        <a:spcPct val="0"/>
      </a:spcAft>
      <a:defRPr sz="1200" kern="1200">
        <a:solidFill>
          <a:schemeClr val="tx1"/>
        </a:solidFill>
        <a:latin typeface="Arial" charset="0"/>
        <a:ea typeface="+mn-ea"/>
        <a:cs typeface="+mn-cs"/>
      </a:defRPr>
    </a:lvl2pPr>
    <a:lvl3pPr marL="914400" algn="ctr" rtl="0" eaLnBrk="0" fontAlgn="base" hangingPunct="0">
      <a:spcBef>
        <a:spcPct val="50000"/>
      </a:spcBef>
      <a:spcAft>
        <a:spcPct val="0"/>
      </a:spcAft>
      <a:defRPr sz="1200" kern="1200">
        <a:solidFill>
          <a:schemeClr val="tx1"/>
        </a:solidFill>
        <a:latin typeface="Arial" charset="0"/>
        <a:ea typeface="+mn-ea"/>
        <a:cs typeface="+mn-cs"/>
      </a:defRPr>
    </a:lvl3pPr>
    <a:lvl4pPr marL="1371600" algn="ctr" rtl="0" eaLnBrk="0" fontAlgn="base" hangingPunct="0">
      <a:spcBef>
        <a:spcPct val="50000"/>
      </a:spcBef>
      <a:spcAft>
        <a:spcPct val="0"/>
      </a:spcAft>
      <a:defRPr sz="1200" kern="1200">
        <a:solidFill>
          <a:schemeClr val="tx1"/>
        </a:solidFill>
        <a:latin typeface="Arial" charset="0"/>
        <a:ea typeface="+mn-ea"/>
        <a:cs typeface="+mn-cs"/>
      </a:defRPr>
    </a:lvl4pPr>
    <a:lvl5pPr marL="1828800" algn="ctr" rtl="0" eaLnBrk="0" fontAlgn="base" hangingPunct="0">
      <a:spcBef>
        <a:spcPct val="5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ne johansen" initials="rj" lastIdx="1" clrIdx="0">
    <p:extLst>
      <p:ext uri="{19B8F6BF-5375-455C-9EA6-DF929625EA0E}">
        <p15:presenceInfo xmlns:p15="http://schemas.microsoft.com/office/powerpoint/2012/main" userId="a5ca7d38af8eb9e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107AAB"/>
    <a:srgbClr val="05405E"/>
    <a:srgbClr val="063C57"/>
    <a:srgbClr val="8996A0"/>
    <a:srgbClr val="1EABD9"/>
    <a:srgbClr val="509AAF"/>
    <a:srgbClr val="1994CB"/>
    <a:srgbClr val="7DD8C7"/>
    <a:srgbClr val="612C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27" autoAdjust="0"/>
    <p:restoredTop sz="95673" autoAdjust="0"/>
  </p:normalViewPr>
  <p:slideViewPr>
    <p:cSldViewPr snapToGrid="0">
      <p:cViewPr varScale="1">
        <p:scale>
          <a:sx n="79" d="100"/>
          <a:sy n="79" d="100"/>
        </p:scale>
        <p:origin x="1632" y="62"/>
      </p:cViewPr>
      <p:guideLst/>
    </p:cSldViewPr>
  </p:slideViewPr>
  <p:notesTextViewPr>
    <p:cViewPr>
      <p:scale>
        <a:sx n="100" d="100"/>
        <a:sy n="100" d="100"/>
      </p:scale>
      <p:origin x="0" y="0"/>
    </p:cViewPr>
  </p:notesTextViewPr>
  <p:sorterViewPr>
    <p:cViewPr varScale="1">
      <p:scale>
        <a:sx n="1" d="1"/>
        <a:sy n="1" d="1"/>
      </p:scale>
      <p:origin x="0" y="-2346"/>
    </p:cViewPr>
  </p:sorterViewPr>
  <p:notesViewPr>
    <p:cSldViewPr snapToGrid="0">
      <p:cViewPr varScale="1">
        <p:scale>
          <a:sx n="63" d="100"/>
          <a:sy n="63" d="100"/>
        </p:scale>
        <p:origin x="341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24" Type="http://schemas.openxmlformats.org/officeDocument/2006/relationships/font" Target="fonts/font13.fntdata"/><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viewProps" Target="viewProps.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3995057113389862"/>
          <c:y val="0.30813208319911484"/>
          <c:w val="0.53932980012113874"/>
          <c:h val="0.80899463893135681"/>
        </c:manualLayout>
      </c:layout>
      <c:radarChart>
        <c:radarStyle val="marker"/>
        <c:varyColors val="0"/>
        <c:ser>
          <c:idx val="0"/>
          <c:order val="0"/>
          <c:tx>
            <c:strRef>
              <c:f>Sheet1!$B$1</c:f>
              <c:strCache>
                <c:ptCount val="1"/>
                <c:pt idx="0">
                  <c:v>No. of left employees</c:v>
                </c:pt>
              </c:strCache>
            </c:strRef>
          </c:tx>
          <c:spPr>
            <a:ln w="34925" cap="rnd">
              <a:solidFill>
                <a:srgbClr val="07AADB"/>
              </a:solidFill>
              <a:round/>
            </a:ln>
            <a:effectLst>
              <a:outerShdw blurRad="40000" dist="23000" dir="5400000" rotWithShape="0">
                <a:srgbClr val="000000">
                  <a:alpha val="35000"/>
                </a:srgbClr>
              </a:outerShdw>
            </a:effectLst>
          </c:spPr>
          <c:marker>
            <c:symbol val="none"/>
          </c:marker>
          <c:dLbls>
            <c:dLbl>
              <c:idx val="1"/>
              <c:layout>
                <c:manualLayout>
                  <c:x val="-3.7500075711689888E-2"/>
                  <c:y val="-3.8942191176393762E-2"/>
                </c:manualLayout>
              </c:layout>
              <c:spPr>
                <a:solidFill>
                  <a:srgbClr val="FFFFFF"/>
                </a:solidFill>
                <a:ln>
                  <a:solidFill>
                    <a:srgbClr val="003F62">
                      <a:lumMod val="25000"/>
                      <a:lumOff val="75000"/>
                    </a:srgbClr>
                  </a:solidFill>
                </a:ln>
                <a:effectLst/>
              </c:spPr>
              <c:txPr>
                <a:bodyPr rot="0" spcFirstLastPara="1" vertOverflow="clip" horzOverflow="clip" vert="horz" wrap="square" lIns="38100" tIns="19050" rIns="38100" bIns="19050" anchor="ctr" anchorCtr="1">
                  <a:no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5.6892337976983627E-2"/>
                      <c:h val="5.8152933210710675E-2"/>
                    </c:manualLayout>
                  </c15:layout>
                </c:ext>
                <c:ext xmlns:c16="http://schemas.microsoft.com/office/drawing/2014/chart" uri="{C3380CC4-5D6E-409C-BE32-E72D297353CC}">
                  <c16:uniqueId val="{00000000-AFF9-4789-B228-EE14F9E61654}"/>
                </c:ext>
              </c:extLst>
            </c:dLbl>
            <c:spPr>
              <a:solidFill>
                <a:srgbClr val="FFFFFF"/>
              </a:solidFill>
              <a:ln>
                <a:solidFill>
                  <a:srgbClr val="003F62">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mpensation &amp; benefits</c:v>
                </c:pt>
                <c:pt idx="1">
                  <c:v>Career development</c:v>
                </c:pt>
                <c:pt idx="2">
                  <c:v>Education</c:v>
                </c:pt>
                <c:pt idx="3">
                  <c:v>Work environment</c:v>
                </c:pt>
                <c:pt idx="4">
                  <c:v>Relocation</c:v>
                </c:pt>
                <c:pt idx="5">
                  <c:v>Work life balance</c:v>
                </c:pt>
              </c:strCache>
            </c:strRef>
          </c:cat>
          <c:val>
            <c:numRef>
              <c:f>Sheet1!$B$2:$B$7</c:f>
              <c:numCache>
                <c:formatCode>General</c:formatCode>
                <c:ptCount val="6"/>
                <c:pt idx="0">
                  <c:v>12</c:v>
                </c:pt>
                <c:pt idx="1">
                  <c:v>24</c:v>
                </c:pt>
                <c:pt idx="2">
                  <c:v>7</c:v>
                </c:pt>
                <c:pt idx="3">
                  <c:v>2</c:v>
                </c:pt>
                <c:pt idx="4">
                  <c:v>5</c:v>
                </c:pt>
                <c:pt idx="5">
                  <c:v>13</c:v>
                </c:pt>
              </c:numCache>
            </c:numRef>
          </c:val>
          <c:extLst>
            <c:ext xmlns:c16="http://schemas.microsoft.com/office/drawing/2014/chart" uri="{C3380CC4-5D6E-409C-BE32-E72D297353CC}">
              <c16:uniqueId val="{00000001-AFF9-4789-B228-EE14F9E61654}"/>
            </c:ext>
          </c:extLst>
        </c:ser>
        <c:ser>
          <c:idx val="1"/>
          <c:order val="1"/>
          <c:tx>
            <c:strRef>
              <c:f>Sheet1!$C$1</c:f>
              <c:strCache>
                <c:ptCount val="1"/>
                <c:pt idx="0">
                  <c:v>   </c:v>
                </c:pt>
              </c:strCache>
            </c:strRef>
          </c:tx>
          <c:spPr>
            <a:ln w="34925" cap="rnd">
              <a:solidFill>
                <a:schemeClr val="accent2">
                  <a:tint val="77000"/>
                </a:schemeClr>
              </a:solidFill>
              <a:round/>
            </a:ln>
            <a:effectLst>
              <a:outerShdw blurRad="40000" dist="23000" dir="5400000" rotWithShape="0">
                <a:srgbClr val="000000">
                  <a:alpha val="35000"/>
                </a:srgbClr>
              </a:outerShdw>
            </a:effectLst>
          </c:spPr>
          <c:marker>
            <c:symbol val="none"/>
          </c:marker>
          <c:dLbls>
            <c:spPr>
              <a:solidFill>
                <a:schemeClr val="lt1"/>
              </a:solidFill>
              <a:ln>
                <a:solidFill>
                  <a:schemeClr val="dk1">
                    <a:lumMod val="25000"/>
                    <a:lumOff val="75000"/>
                  </a:scheme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1!$A$2:$A$7</c:f>
              <c:strCache>
                <c:ptCount val="6"/>
                <c:pt idx="0">
                  <c:v>Compensation &amp; benefits</c:v>
                </c:pt>
                <c:pt idx="1">
                  <c:v>Career development</c:v>
                </c:pt>
                <c:pt idx="2">
                  <c:v>Education</c:v>
                </c:pt>
                <c:pt idx="3">
                  <c:v>Work environment</c:v>
                </c:pt>
                <c:pt idx="4">
                  <c:v>Relocation</c:v>
                </c:pt>
                <c:pt idx="5">
                  <c:v>Work life balance</c:v>
                </c:pt>
              </c:strCache>
            </c:strRef>
          </c:cat>
          <c:val>
            <c:numRef>
              <c:f>Sheet1!$C$2:$C$7</c:f>
              <c:numCache>
                <c:formatCode>General</c:formatCode>
                <c:ptCount val="6"/>
              </c:numCache>
            </c:numRef>
          </c:val>
          <c:extLst>
            <c:ext xmlns:c16="http://schemas.microsoft.com/office/drawing/2014/chart" uri="{C3380CC4-5D6E-409C-BE32-E72D297353CC}">
              <c16:uniqueId val="{00000002-AFF9-4789-B228-EE14F9E61654}"/>
            </c:ext>
          </c:extLst>
        </c:ser>
        <c:dLbls>
          <c:showLegendKey val="0"/>
          <c:showVal val="0"/>
          <c:showCatName val="0"/>
          <c:showSerName val="0"/>
          <c:showPercent val="0"/>
          <c:showBubbleSize val="0"/>
        </c:dLbls>
        <c:axId val="1519369999"/>
        <c:axId val="1519377903"/>
      </c:radarChart>
      <c:catAx>
        <c:axId val="1519369999"/>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t" anchorCtr="0"/>
          <a:lstStyle/>
          <a:p>
            <a:pPr>
              <a:defRPr sz="1100" b="0" i="0" u="none" strike="noStrike" kern="1200" baseline="0">
                <a:solidFill>
                  <a:srgbClr val="F2F2F2"/>
                </a:solidFill>
                <a:latin typeface="+mn-lt"/>
                <a:ea typeface="+mn-ea"/>
                <a:cs typeface="+mn-cs"/>
              </a:defRPr>
            </a:pPr>
            <a:endParaRPr lang="en-US"/>
          </a:p>
        </c:txPr>
        <c:crossAx val="1519377903"/>
        <c:crosses val="autoZero"/>
        <c:auto val="1"/>
        <c:lblAlgn val="ctr"/>
        <c:lblOffset val="100"/>
        <c:noMultiLvlLbl val="0"/>
      </c:catAx>
      <c:valAx>
        <c:axId val="1519377903"/>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19369999"/>
        <c:crosses val="autoZero"/>
        <c:crossBetween val="between"/>
      </c:valAx>
      <c:spPr>
        <a:noFill/>
        <a:ln w="25400">
          <a:noFill/>
        </a:ln>
        <a:effectLst/>
      </c:spPr>
    </c:plotArea>
    <c:legend>
      <c:legendPos val="r"/>
      <c:legendEntry>
        <c:idx val="1"/>
        <c:delete val="1"/>
      </c:legendEntry>
      <c:layout>
        <c:manualLayout>
          <c:xMode val="edge"/>
          <c:yMode val="edge"/>
          <c:x val="9.8714938600776653E-2"/>
          <c:y val="0.93945780617855434"/>
          <c:w val="0.3712969686452135"/>
          <c:h val="5.550340282378839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F2F2F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0274" name="Rectangle 2"/>
          <p:cNvSpPr>
            <a:spLocks noGrp="1" noChangeArrowheads="1"/>
          </p:cNvSpPr>
          <p:nvPr>
            <p:ph type="hdr" sz="quarter"/>
          </p:nvPr>
        </p:nvSpPr>
        <p:spPr bwMode="auto">
          <a:xfrm>
            <a:off x="1" y="0"/>
            <a:ext cx="182683" cy="278202"/>
          </a:xfrm>
          <a:prstGeom prst="rect">
            <a:avLst/>
          </a:prstGeom>
          <a:noFill/>
          <a:ln w="12700">
            <a:noFill/>
            <a:miter lim="800000"/>
            <a:headEnd/>
            <a:tailEnd/>
          </a:ln>
          <a:effectLst/>
        </p:spPr>
        <p:txBody>
          <a:bodyPr vert="horz" wrap="none" lIns="90668" tIns="47148" rIns="90668" bIns="47148" numCol="1" anchor="t" anchorCtr="0" compatLnSpc="1">
            <a:prstTxWarp prst="textNoShape">
              <a:avLst/>
            </a:prstTxWarp>
            <a:spAutoFit/>
          </a:bodyPr>
          <a:lstStyle>
            <a:lvl1pPr algn="l" defTabSz="920615">
              <a:spcBef>
                <a:spcPct val="0"/>
              </a:spcBef>
              <a:defRPr b="1"/>
            </a:lvl1pPr>
          </a:lstStyle>
          <a:p>
            <a:endParaRPr lang="da-DK" dirty="0"/>
          </a:p>
        </p:txBody>
      </p:sp>
      <p:sp>
        <p:nvSpPr>
          <p:cNvPr id="310275" name="Rectangle 3"/>
          <p:cNvSpPr>
            <a:spLocks noGrp="1" noChangeArrowheads="1"/>
          </p:cNvSpPr>
          <p:nvPr>
            <p:ph type="dt" sz="quarter" idx="1"/>
          </p:nvPr>
        </p:nvSpPr>
        <p:spPr bwMode="auto">
          <a:xfrm>
            <a:off x="6597663" y="0"/>
            <a:ext cx="182683" cy="278202"/>
          </a:xfrm>
          <a:prstGeom prst="rect">
            <a:avLst/>
          </a:prstGeom>
          <a:noFill/>
          <a:ln w="12700">
            <a:noFill/>
            <a:miter lim="800000"/>
            <a:headEnd/>
            <a:tailEnd/>
          </a:ln>
          <a:effectLst/>
        </p:spPr>
        <p:txBody>
          <a:bodyPr vert="horz" wrap="none" lIns="90668" tIns="47148" rIns="90668" bIns="47148" numCol="1" anchor="t" anchorCtr="0" compatLnSpc="1">
            <a:prstTxWarp prst="textNoShape">
              <a:avLst/>
            </a:prstTxWarp>
            <a:spAutoFit/>
          </a:bodyPr>
          <a:lstStyle>
            <a:lvl1pPr algn="r" defTabSz="920615">
              <a:spcBef>
                <a:spcPct val="0"/>
              </a:spcBef>
              <a:defRPr b="1"/>
            </a:lvl1pPr>
          </a:lstStyle>
          <a:p>
            <a:endParaRPr lang="da-DK" dirty="0"/>
          </a:p>
        </p:txBody>
      </p:sp>
      <p:sp>
        <p:nvSpPr>
          <p:cNvPr id="310276" name="Rectangle 4"/>
          <p:cNvSpPr>
            <a:spLocks noGrp="1" noChangeArrowheads="1"/>
          </p:cNvSpPr>
          <p:nvPr>
            <p:ph type="ftr" sz="quarter" idx="2"/>
          </p:nvPr>
        </p:nvSpPr>
        <p:spPr bwMode="auto">
          <a:xfrm>
            <a:off x="1" y="9632120"/>
            <a:ext cx="182683" cy="278202"/>
          </a:xfrm>
          <a:prstGeom prst="rect">
            <a:avLst/>
          </a:prstGeom>
          <a:noFill/>
          <a:ln w="12700">
            <a:noFill/>
            <a:miter lim="800000"/>
            <a:headEnd/>
            <a:tailEnd/>
          </a:ln>
          <a:effectLst/>
        </p:spPr>
        <p:txBody>
          <a:bodyPr vert="horz" wrap="none" lIns="90668" tIns="47148" rIns="90668" bIns="47148" numCol="1" anchor="b" anchorCtr="0" compatLnSpc="1">
            <a:prstTxWarp prst="textNoShape">
              <a:avLst/>
            </a:prstTxWarp>
            <a:spAutoFit/>
          </a:bodyPr>
          <a:lstStyle>
            <a:lvl1pPr algn="l" defTabSz="920615">
              <a:spcBef>
                <a:spcPct val="0"/>
              </a:spcBef>
              <a:defRPr b="1"/>
            </a:lvl1pPr>
          </a:lstStyle>
          <a:p>
            <a:endParaRPr lang="da-DK" dirty="0"/>
          </a:p>
        </p:txBody>
      </p:sp>
      <p:sp>
        <p:nvSpPr>
          <p:cNvPr id="310277" name="Rectangle 5"/>
          <p:cNvSpPr>
            <a:spLocks noGrp="1" noChangeArrowheads="1"/>
          </p:cNvSpPr>
          <p:nvPr>
            <p:ph type="sldNum" sz="quarter" idx="3"/>
          </p:nvPr>
        </p:nvSpPr>
        <p:spPr bwMode="auto">
          <a:xfrm>
            <a:off x="6409687" y="9630439"/>
            <a:ext cx="370659" cy="279883"/>
          </a:xfrm>
          <a:prstGeom prst="rect">
            <a:avLst/>
          </a:prstGeom>
          <a:noFill/>
          <a:ln w="12700">
            <a:noFill/>
            <a:miter lim="800000"/>
            <a:headEnd/>
            <a:tailEnd/>
          </a:ln>
          <a:effectLst/>
        </p:spPr>
        <p:txBody>
          <a:bodyPr vert="horz" wrap="none" lIns="90668" tIns="47148" rIns="90668" bIns="47148" numCol="1" anchor="b" anchorCtr="0" compatLnSpc="1">
            <a:prstTxWarp prst="textNoShape">
              <a:avLst/>
            </a:prstTxWarp>
            <a:spAutoFit/>
          </a:bodyPr>
          <a:lstStyle>
            <a:lvl1pPr algn="r" defTabSz="920615">
              <a:spcBef>
                <a:spcPct val="0"/>
              </a:spcBef>
              <a:defRPr b="1"/>
            </a:lvl1pPr>
          </a:lstStyle>
          <a:p>
            <a:fld id="{759B724C-78FC-4698-BDE4-19F15588D530}" type="slidenum">
              <a:rPr lang="da-DK"/>
              <a:pPr/>
              <a:t>‹#›</a:t>
            </a:fld>
            <a:endParaRPr lang="da-DK" dirty="0"/>
          </a:p>
        </p:txBody>
      </p:sp>
    </p:spTree>
    <p:extLst>
      <p:ext uri="{BB962C8B-B14F-4D97-AF65-F5344CB8AC3E}">
        <p14:creationId xmlns:p14="http://schemas.microsoft.com/office/powerpoint/2010/main" val="662853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47429" cy="496164"/>
          </a:xfrm>
          <a:prstGeom prst="rect">
            <a:avLst/>
          </a:prstGeom>
          <a:noFill/>
          <a:ln w="9525">
            <a:noFill/>
            <a:miter lim="800000"/>
            <a:headEnd/>
            <a:tailEnd/>
          </a:ln>
          <a:effectLst/>
        </p:spPr>
        <p:txBody>
          <a:bodyPr vert="horz" wrap="square" lIns="91862" tIns="45930" rIns="91862" bIns="45930" numCol="1" anchor="t" anchorCtr="0" compatLnSpc="1">
            <a:prstTxWarp prst="textNoShape">
              <a:avLst/>
            </a:prstTxWarp>
          </a:bodyPr>
          <a:lstStyle>
            <a:lvl1pPr algn="l" defTabSz="917412">
              <a:spcBef>
                <a:spcPct val="0"/>
              </a:spcBef>
              <a:defRPr/>
            </a:lvl1pPr>
          </a:lstStyle>
          <a:p>
            <a:endParaRPr lang="en-GB" dirty="0"/>
          </a:p>
        </p:txBody>
      </p:sp>
      <p:sp>
        <p:nvSpPr>
          <p:cNvPr id="2051" name="Rectangle 3"/>
          <p:cNvSpPr>
            <a:spLocks noGrp="1" noChangeArrowheads="1"/>
          </p:cNvSpPr>
          <p:nvPr>
            <p:ph type="dt" idx="1"/>
          </p:nvPr>
        </p:nvSpPr>
        <p:spPr bwMode="auto">
          <a:xfrm>
            <a:off x="3847072" y="1"/>
            <a:ext cx="2947429" cy="496164"/>
          </a:xfrm>
          <a:prstGeom prst="rect">
            <a:avLst/>
          </a:prstGeom>
          <a:noFill/>
          <a:ln w="9525">
            <a:noFill/>
            <a:miter lim="800000"/>
            <a:headEnd/>
            <a:tailEnd/>
          </a:ln>
          <a:effectLst/>
        </p:spPr>
        <p:txBody>
          <a:bodyPr vert="horz" wrap="square" lIns="91862" tIns="45930" rIns="91862" bIns="45930" numCol="1" anchor="t" anchorCtr="0" compatLnSpc="1">
            <a:prstTxWarp prst="textNoShape">
              <a:avLst/>
            </a:prstTxWarp>
          </a:bodyPr>
          <a:lstStyle>
            <a:lvl1pPr algn="r" defTabSz="917412">
              <a:spcBef>
                <a:spcPct val="0"/>
              </a:spcBef>
              <a:defRPr/>
            </a:lvl1pPr>
          </a:lstStyle>
          <a:p>
            <a:endParaRPr lang="en-GB" dirty="0"/>
          </a:p>
        </p:txBody>
      </p:sp>
      <p:sp>
        <p:nvSpPr>
          <p:cNvPr id="2052" name="Rectangle 4"/>
          <p:cNvSpPr>
            <a:spLocks noGrp="1" noRot="1" noChangeAspect="1" noChangeArrowheads="1" noTextEdit="1"/>
          </p:cNvSpPr>
          <p:nvPr>
            <p:ph type="sldImg" idx="2"/>
          </p:nvPr>
        </p:nvSpPr>
        <p:spPr bwMode="auto">
          <a:xfrm>
            <a:off x="709613" y="744538"/>
            <a:ext cx="5378450" cy="3724275"/>
          </a:xfrm>
          <a:prstGeom prst="rect">
            <a:avLst/>
          </a:prstGeom>
          <a:noFill/>
          <a:ln w="9525">
            <a:solidFill>
              <a:srgbClr val="000000"/>
            </a:solidFill>
            <a:miter lim="800000"/>
            <a:headEnd/>
            <a:tailEnd/>
          </a:ln>
          <a:effectLst/>
        </p:spPr>
      </p:sp>
      <p:sp>
        <p:nvSpPr>
          <p:cNvPr id="2053" name="Rectangle 5"/>
          <p:cNvSpPr>
            <a:spLocks noGrp="1" noChangeArrowheads="1"/>
          </p:cNvSpPr>
          <p:nvPr>
            <p:ph type="body" sz="quarter" idx="3"/>
          </p:nvPr>
        </p:nvSpPr>
        <p:spPr bwMode="auto">
          <a:xfrm>
            <a:off x="710907" y="4715186"/>
            <a:ext cx="5382125" cy="108961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a:t>Klik for at redigere teksttypografien i masteren</a:t>
            </a:r>
          </a:p>
          <a:p>
            <a:pPr lvl="1"/>
            <a:r>
              <a:rPr lang="en-GB"/>
              <a:t>Andet niveau</a:t>
            </a:r>
          </a:p>
          <a:p>
            <a:pPr lvl="2"/>
            <a:r>
              <a:rPr lang="en-GB"/>
              <a:t>Tredje niveau</a:t>
            </a:r>
          </a:p>
          <a:p>
            <a:pPr lvl="3"/>
            <a:r>
              <a:rPr lang="en-GB"/>
              <a:t>Fjerde niveau</a:t>
            </a:r>
          </a:p>
          <a:p>
            <a:pPr lvl="4"/>
            <a:r>
              <a:rPr lang="en-GB"/>
              <a:t>Femte niveau</a:t>
            </a:r>
          </a:p>
        </p:txBody>
      </p:sp>
      <p:sp>
        <p:nvSpPr>
          <p:cNvPr id="2054" name="Rectangle 6"/>
          <p:cNvSpPr>
            <a:spLocks noGrp="1" noChangeArrowheads="1"/>
          </p:cNvSpPr>
          <p:nvPr>
            <p:ph type="ftr" sz="quarter" idx="4"/>
          </p:nvPr>
        </p:nvSpPr>
        <p:spPr bwMode="auto">
          <a:xfrm>
            <a:off x="1" y="9435236"/>
            <a:ext cx="2947429" cy="496164"/>
          </a:xfrm>
          <a:prstGeom prst="rect">
            <a:avLst/>
          </a:prstGeom>
          <a:noFill/>
          <a:ln w="9525">
            <a:noFill/>
            <a:miter lim="800000"/>
            <a:headEnd/>
            <a:tailEnd/>
          </a:ln>
          <a:effectLst/>
        </p:spPr>
        <p:txBody>
          <a:bodyPr vert="horz" wrap="square" lIns="91862" tIns="45930" rIns="91862" bIns="45930" numCol="1" anchor="b" anchorCtr="0" compatLnSpc="1">
            <a:prstTxWarp prst="textNoShape">
              <a:avLst/>
            </a:prstTxWarp>
          </a:bodyPr>
          <a:lstStyle>
            <a:lvl1pPr algn="l" defTabSz="917412">
              <a:spcBef>
                <a:spcPct val="0"/>
              </a:spcBef>
              <a:defRPr/>
            </a:lvl1pPr>
          </a:lstStyle>
          <a:p>
            <a:endParaRPr lang="en-GB" dirty="0"/>
          </a:p>
        </p:txBody>
      </p:sp>
      <p:sp>
        <p:nvSpPr>
          <p:cNvPr id="2055" name="Rectangle 7"/>
          <p:cNvSpPr>
            <a:spLocks noGrp="1" noChangeArrowheads="1"/>
          </p:cNvSpPr>
          <p:nvPr>
            <p:ph type="sldNum" sz="quarter" idx="5"/>
          </p:nvPr>
        </p:nvSpPr>
        <p:spPr bwMode="auto">
          <a:xfrm>
            <a:off x="3847072" y="9435236"/>
            <a:ext cx="2947429" cy="496164"/>
          </a:xfrm>
          <a:prstGeom prst="rect">
            <a:avLst/>
          </a:prstGeom>
          <a:noFill/>
          <a:ln w="9525">
            <a:noFill/>
            <a:miter lim="800000"/>
            <a:headEnd/>
            <a:tailEnd/>
          </a:ln>
          <a:effectLst/>
        </p:spPr>
        <p:txBody>
          <a:bodyPr vert="horz" wrap="square" lIns="91862" tIns="45930" rIns="91862" bIns="45930" numCol="1" anchor="b" anchorCtr="0" compatLnSpc="1">
            <a:prstTxWarp prst="textNoShape">
              <a:avLst/>
            </a:prstTxWarp>
          </a:bodyPr>
          <a:lstStyle>
            <a:lvl1pPr algn="r" defTabSz="917412">
              <a:spcBef>
                <a:spcPct val="0"/>
              </a:spcBef>
              <a:defRPr/>
            </a:lvl1pPr>
          </a:lstStyle>
          <a:p>
            <a:fld id="{1D57CA6B-6BE3-424D-A16A-799909235261}" type="slidenum">
              <a:rPr lang="en-GB" smtClean="0"/>
              <a:pPr/>
              <a:t>‹#›</a:t>
            </a:fld>
            <a:endParaRPr lang="en-GB" dirty="0"/>
          </a:p>
        </p:txBody>
      </p:sp>
    </p:spTree>
    <p:extLst>
      <p:ext uri="{BB962C8B-B14F-4D97-AF65-F5344CB8AC3E}">
        <p14:creationId xmlns:p14="http://schemas.microsoft.com/office/powerpoint/2010/main" val="3675367589"/>
      </p:ext>
    </p:extLst>
  </p:cSld>
  <p:clrMap bg1="lt1" tx1="dk1" bg2="lt2" tx2="dk2" accent1="accent1" accent2="accent2" accent3="accent3" accent4="accent4" accent5="accent5" accent6="accent6" hlink="hlink" folHlink="folHlink"/>
  <p:notesStyle>
    <a:lvl1pPr algn="l" rtl="0" eaLnBrk="0" fontAlgn="base" hangingPunct="0">
      <a:spcBef>
        <a:spcPct val="50000"/>
      </a:spcBef>
      <a:spcAft>
        <a:spcPct val="0"/>
      </a:spcAft>
      <a:defRPr sz="1000" kern="1200">
        <a:solidFill>
          <a:schemeClr val="tx1"/>
        </a:solidFill>
        <a:latin typeface="Arial" charset="0"/>
        <a:ea typeface="+mn-ea"/>
        <a:cs typeface="+mn-cs"/>
      </a:defRPr>
    </a:lvl1pPr>
    <a:lvl2pPr marL="136525" indent="-134938" algn="l" rtl="0" eaLnBrk="0" fontAlgn="base" hangingPunct="0">
      <a:spcBef>
        <a:spcPct val="50000"/>
      </a:spcBef>
      <a:spcAft>
        <a:spcPct val="0"/>
      </a:spcAft>
      <a:buChar char="•"/>
      <a:defRPr sz="1000" kern="1200">
        <a:solidFill>
          <a:schemeClr val="tx1"/>
        </a:solidFill>
        <a:latin typeface="Arial" charset="0"/>
        <a:ea typeface="+mn-ea"/>
        <a:cs typeface="+mn-cs"/>
      </a:defRPr>
    </a:lvl2pPr>
    <a:lvl3pPr marL="285750" indent="-147638" algn="l" rtl="0" eaLnBrk="0" fontAlgn="base" hangingPunct="0">
      <a:spcBef>
        <a:spcPct val="50000"/>
      </a:spcBef>
      <a:spcAft>
        <a:spcPct val="0"/>
      </a:spcAft>
      <a:buChar char="–"/>
      <a:defRPr sz="1000" kern="1200">
        <a:solidFill>
          <a:schemeClr val="tx1"/>
        </a:solidFill>
        <a:latin typeface="Arial" charset="0"/>
        <a:ea typeface="+mn-ea"/>
        <a:cs typeface="+mn-cs"/>
      </a:defRPr>
    </a:lvl3pPr>
    <a:lvl4pPr marL="422275" indent="-134938" algn="l" rtl="0" eaLnBrk="0" fontAlgn="base" hangingPunct="0">
      <a:spcBef>
        <a:spcPct val="50000"/>
      </a:spcBef>
      <a:spcAft>
        <a:spcPct val="0"/>
      </a:spcAft>
      <a:buChar char="·"/>
      <a:defRPr sz="1000" kern="1200">
        <a:solidFill>
          <a:schemeClr val="tx1"/>
        </a:solidFill>
        <a:latin typeface="Arial" charset="0"/>
        <a:ea typeface="+mn-ea"/>
        <a:cs typeface="+mn-cs"/>
      </a:defRPr>
    </a:lvl4pPr>
    <a:lvl5pPr marL="571500" indent="-147638" algn="l" rtl="0" eaLnBrk="0" fontAlgn="base" hangingPunct="0">
      <a:spcBef>
        <a:spcPct val="50000"/>
      </a:spcBef>
      <a:spcAft>
        <a:spcPct val="0"/>
      </a:spcAft>
      <a:buChar char="»"/>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D57CA6B-6BE3-424D-A16A-799909235261}" type="slidenum">
              <a:rPr lang="en-GB" smtClean="0"/>
              <a:pPr/>
              <a:t>4</a:t>
            </a:fld>
            <a:endParaRPr lang="en-GB" dirty="0"/>
          </a:p>
        </p:txBody>
      </p:sp>
    </p:spTree>
    <p:extLst>
      <p:ext uri="{BB962C8B-B14F-4D97-AF65-F5344CB8AC3E}">
        <p14:creationId xmlns:p14="http://schemas.microsoft.com/office/powerpoint/2010/main" val="187534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372F0-CD9F-B447-BF66-CCBC502ABF86}"/>
              </a:ext>
            </a:extLst>
          </p:cNvPr>
          <p:cNvSpPr>
            <a:spLocks noGrp="1"/>
          </p:cNvSpPr>
          <p:nvPr>
            <p:ph type="title"/>
          </p:nvPr>
        </p:nvSpPr>
        <p:spPr/>
        <p:txBody>
          <a:bodyPr/>
          <a:lstStyle/>
          <a:p>
            <a:r>
              <a:rPr lang="en-US"/>
              <a:t>Click to edit Master title style</a:t>
            </a:r>
            <a:endParaRPr lang="hu-HU"/>
          </a:p>
        </p:txBody>
      </p:sp>
      <p:sp>
        <p:nvSpPr>
          <p:cNvPr id="3" name="Slide Number Placeholder 2">
            <a:extLst>
              <a:ext uri="{FF2B5EF4-FFF2-40B4-BE49-F238E27FC236}">
                <a16:creationId xmlns:a16="http://schemas.microsoft.com/office/drawing/2014/main" id="{E04A4651-E7F4-F847-9A07-761557621465}"/>
              </a:ext>
            </a:extLst>
          </p:cNvPr>
          <p:cNvSpPr>
            <a:spLocks noGrp="1"/>
          </p:cNvSpPr>
          <p:nvPr>
            <p:ph type="sldNum" sz="quarter" idx="10"/>
          </p:nvPr>
        </p:nvSpPr>
        <p:spPr/>
        <p:txBody>
          <a:bodyPr/>
          <a:lstStyle/>
          <a:p>
            <a:fld id="{914292A2-C371-4A90-A5CC-38E01B82EA60}" type="slidenum">
              <a:rPr lang="de-DE" smtClean="0"/>
              <a:pPr/>
              <a:t>‹#›</a:t>
            </a:fld>
            <a:endParaRPr lang="de-DE" dirty="0"/>
          </a:p>
        </p:txBody>
      </p:sp>
      <p:sp>
        <p:nvSpPr>
          <p:cNvPr id="10" name="Text Placeholder 8">
            <a:extLst>
              <a:ext uri="{FF2B5EF4-FFF2-40B4-BE49-F238E27FC236}">
                <a16:creationId xmlns:a16="http://schemas.microsoft.com/office/drawing/2014/main" id="{CA56C44A-5AE6-AC43-818E-99212868E0F4}"/>
              </a:ext>
            </a:extLst>
          </p:cNvPr>
          <p:cNvSpPr>
            <a:spLocks noGrp="1"/>
          </p:cNvSpPr>
          <p:nvPr>
            <p:ph type="body" sz="quarter" idx="12"/>
          </p:nvPr>
        </p:nvSpPr>
        <p:spPr>
          <a:xfrm>
            <a:off x="427392" y="726856"/>
            <a:ext cx="3988800" cy="183600"/>
          </a:xfrm>
          <a:prstGeom prst="rect">
            <a:avLst/>
          </a:prstGeom>
        </p:spPr>
        <p:txBody>
          <a:bodyPr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lvl1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pPr>
            <a:endParaRPr lang="en-US" spc="100" dirty="0">
              <a:solidFill>
                <a:srgbClr val="107AAB"/>
              </a:solidFill>
              <a:latin typeface="Poppins Medium" panose="00000600000000000000" pitchFamily="2" charset="0"/>
              <a:cs typeface="Poppins Medium" panose="00000600000000000000" pitchFamily="2" charset="0"/>
            </a:endParaRPr>
          </a:p>
        </p:txBody>
      </p:sp>
      <p:sp>
        <p:nvSpPr>
          <p:cNvPr id="13" name="Text Placeholder 11">
            <a:extLst>
              <a:ext uri="{FF2B5EF4-FFF2-40B4-BE49-F238E27FC236}">
                <a16:creationId xmlns:a16="http://schemas.microsoft.com/office/drawing/2014/main" id="{6E12DC57-D021-274C-B00C-E129DB588201}"/>
              </a:ext>
            </a:extLst>
          </p:cNvPr>
          <p:cNvSpPr>
            <a:spLocks noGrp="1"/>
          </p:cNvSpPr>
          <p:nvPr>
            <p:ph type="body" sz="quarter" idx="13"/>
          </p:nvPr>
        </p:nvSpPr>
        <p:spPr>
          <a:xfrm>
            <a:off x="417513" y="6506116"/>
            <a:ext cx="3142800" cy="136800"/>
          </a:xfrm>
          <a:prstGeom prst="rect">
            <a:avLst/>
          </a:prstGeom>
        </p:spPr>
        <p:txBody>
          <a:bodyPr lIns="0" tIns="0" rIns="0" bIns="0"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sz="900">
                <a:solidFill>
                  <a:srgbClr val="05405E"/>
                </a:solidFill>
              </a:defRPr>
            </a:lvl1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a:pPr>
            <a:endParaRPr lang="hu-HU" dirty="0"/>
          </a:p>
        </p:txBody>
      </p:sp>
    </p:spTree>
    <p:extLst>
      <p:ext uri="{BB962C8B-B14F-4D97-AF65-F5344CB8AC3E}">
        <p14:creationId xmlns:p14="http://schemas.microsoft.com/office/powerpoint/2010/main" val="30983266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2870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5"/>
            </p:custDataLst>
            <p:extLst>
              <p:ext uri="{D42A27DB-BD31-4B8C-83A1-F6EECF244321}">
                <p14:modId xmlns:p14="http://schemas.microsoft.com/office/powerpoint/2010/main" val="27976301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7" imgW="0" imgH="0" progId="TCLayout.ActiveDocument.1">
                  <p:embed/>
                </p:oleObj>
              </mc:Choice>
              <mc:Fallback>
                <p:oleObj name="think-cell Slide" r:id="rId7" imgW="0" imgH="0" progId="TCLayout.ActiveDocument.1">
                  <p:embed/>
                  <p:pic>
                    <p:nvPicPr>
                      <p:cNvPr id="1093" name="Rectangle 6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D13E924B-6D67-407F-92DD-50447513D752}"/>
              </a:ext>
            </a:extLst>
          </p:cNvPr>
          <p:cNvSpPr/>
          <p:nvPr userDrawn="1">
            <p:custDataLst>
              <p:tags r:id="rId6"/>
            </p:custDataLst>
          </p:nvPr>
        </p:nvSpPr>
        <p:spPr bwMode="auto">
          <a:xfrm>
            <a:off x="0" y="0"/>
            <a:ext cx="158750" cy="158750"/>
          </a:xfrm>
          <a:prstGeom prst="rect">
            <a:avLst/>
          </a:prstGeom>
          <a:solidFill>
            <a:srgbClr val="509AAF"/>
          </a:solidFill>
          <a:ln w="12700">
            <a:noFill/>
            <a:round/>
            <a:headEnd/>
            <a:tailEnd/>
          </a:ln>
        </p:spPr>
        <p:txBody>
          <a:bodyPr vert="horz" wrap="none" lIns="0" tIns="0" rIns="0" bIns="0" numCol="1" spcCol="0" rtlCol="0" anchor="ctr" anchorCtr="0">
            <a:noAutofit/>
          </a:bodyPr>
          <a:lstStyle/>
          <a:p>
            <a:pPr marL="0" lvl="0" indent="0" algn="l" eaLnBrk="0">
              <a:lnSpc>
                <a:spcPct val="100000"/>
              </a:lnSpc>
              <a:spcBef>
                <a:spcPct val="0"/>
              </a:spcBef>
              <a:spcAft>
                <a:spcPct val="0"/>
              </a:spcAft>
            </a:pPr>
            <a:endParaRPr lang="en-GB" sz="2400" b="0" i="0" baseline="0" dirty="0">
              <a:solidFill>
                <a:schemeClr val="tx2"/>
              </a:solidFill>
              <a:latin typeface="Poppins Black" panose="00000A00000000000000" pitchFamily="2" charset="0"/>
              <a:ea typeface="+mj-ea"/>
              <a:cs typeface="Poppins Black" panose="00000A00000000000000" pitchFamily="2" charset="0"/>
              <a:sym typeface="Poppins Black" panose="00000A00000000000000" pitchFamily="2" charset="0"/>
            </a:endParaRPr>
          </a:p>
        </p:txBody>
      </p:sp>
      <p:sp>
        <p:nvSpPr>
          <p:cNvPr id="1026" name="Rectangle 2"/>
          <p:cNvSpPr>
            <a:spLocks noGrp="1" noChangeArrowheads="1"/>
          </p:cNvSpPr>
          <p:nvPr>
            <p:ph type="title"/>
          </p:nvPr>
        </p:nvSpPr>
        <p:spPr bwMode="auto">
          <a:xfrm>
            <a:off x="417513" y="227576"/>
            <a:ext cx="6469200" cy="46080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p>
            <a:endParaRPr lang="en-GB" dirty="0"/>
          </a:p>
        </p:txBody>
      </p:sp>
      <p:sp>
        <p:nvSpPr>
          <p:cNvPr id="3" name="[WorkArea]" descr="&lt;?xml version=&quot;1.0&quot; encoding=&quot;utf-16&quot;?&gt;&#10;&lt;GridTheme xmlns:xsd=&quot;http://www.w3.org/2001/XMLSchema&quot; xmlns:xsi=&quot;http://www.w3.org/2001/XMLSchema-instance&quot;&gt;&#10;  &lt;GuideLines /&gt;&#10;  &lt;WorkArea&gt;&#10;    &lt;Top&gt;94.12504&lt;/Top&gt;&#10;    &lt;Left&gt;32.87504&lt;/Left&gt;&#10;    &lt;Width&gt;714.374939&lt;/Width&gt;&#10;    &lt;Height&gt;388.374969&lt;/Height&gt;&#10;  &lt;/WorkArea&gt;&#10;  &lt;AspectW&gt;-1&lt;/AspectW&gt;&#10;  &lt;AspectH&gt;-1&lt;/AspectH&gt;&#10;  &lt;Width&gt;780&lt;/Width&gt;&#10;  &lt;Height&gt;540&lt;/Height&gt;&#10;  &lt;HGap&gt;5&lt;/HGap&gt;&#10;  &lt;VGap&gt;5&lt;/VGap&gt;&#10;  &lt;OfficeVersion&gt;-1&lt;/OfficeVersion&gt;&#10;&lt;/GridTheme&gt;" hidden="1"/>
          <p:cNvSpPr/>
          <p:nvPr userDrawn="1"/>
        </p:nvSpPr>
        <p:spPr bwMode="auto">
          <a:xfrm>
            <a:off x="417513" y="1195388"/>
            <a:ext cx="9072562" cy="4932362"/>
          </a:xfrm>
          <a:prstGeom prst="rect">
            <a:avLst/>
          </a:prstGeom>
          <a:solidFill>
            <a:srgbClr val="EAEAEA">
              <a:alpha val="50000"/>
            </a:srgbClr>
          </a:solidFill>
          <a:ln w="9525" cap="flat" cmpd="sng" algn="ctr">
            <a:solidFill>
              <a:schemeClr val="accent2">
                <a:alpha val="0"/>
              </a:schemeClr>
            </a:solidFill>
            <a:prstDash val="solid"/>
            <a:miter lim="800000"/>
            <a:headEnd type="none" w="med" len="med"/>
            <a:tailEnd type="none" w="med" len="med"/>
          </a:ln>
          <a:effectLst/>
        </p:spPr>
        <p:txBody>
          <a:bodyPr lIns="108000" tIns="108000" rIns="108000" bIns="108000" rtlCol="0" anchor="ctr">
            <a:noAutofit/>
          </a:bodyPr>
          <a:lstStyle/>
          <a:p>
            <a:pPr algn="l"/>
            <a:endParaRPr lang="en-GB" dirty="0"/>
          </a:p>
        </p:txBody>
      </p:sp>
      <p:sp>
        <p:nvSpPr>
          <p:cNvPr id="10" name="TextBox 9">
            <a:extLst>
              <a:ext uri="{FF2B5EF4-FFF2-40B4-BE49-F238E27FC236}">
                <a16:creationId xmlns:a16="http://schemas.microsoft.com/office/drawing/2014/main" id="{F4B78B19-AA6E-453A-958F-D16B7FB363D3}"/>
              </a:ext>
            </a:extLst>
          </p:cNvPr>
          <p:cNvSpPr txBox="1"/>
          <p:nvPr userDrawn="1"/>
        </p:nvSpPr>
        <p:spPr>
          <a:xfrm>
            <a:off x="7595506" y="227576"/>
            <a:ext cx="2016595" cy="276999"/>
          </a:xfrm>
          <a:prstGeom prst="rect">
            <a:avLst/>
          </a:prstGeom>
          <a:noFill/>
        </p:spPr>
        <p:txBody>
          <a:bodyPr wrap="square" rtlCol="0">
            <a:spAutoFit/>
          </a:bodyPr>
          <a:lstStyle/>
          <a:p>
            <a:pPr algn="r"/>
            <a:r>
              <a:rPr lang="de-DE" dirty="0">
                <a:solidFill>
                  <a:srgbClr val="05405E"/>
                </a:solidFill>
                <a:latin typeface="Poppins Medium" panose="00000600000000000000" pitchFamily="2" charset="0"/>
                <a:cs typeface="Poppins Medium" panose="00000600000000000000" pitchFamily="2" charset="0"/>
              </a:rPr>
              <a:t>Nordic</a:t>
            </a:r>
            <a:r>
              <a:rPr lang="de-DE" dirty="0">
                <a:latin typeface="Poppins Medium" panose="00000600000000000000" pitchFamily="2" charset="0"/>
                <a:cs typeface="Poppins Medium" panose="00000600000000000000" pitchFamily="2" charset="0"/>
              </a:rPr>
              <a:t> </a:t>
            </a:r>
            <a:r>
              <a:rPr lang="de-DE" dirty="0">
                <a:solidFill>
                  <a:srgbClr val="1EABD9"/>
                </a:solidFill>
                <a:latin typeface="Poppins Medium" panose="00000600000000000000" pitchFamily="2" charset="0"/>
                <a:cs typeface="Poppins Medium" panose="00000600000000000000" pitchFamily="2" charset="0"/>
              </a:rPr>
              <a:t>Consulting</a:t>
            </a:r>
          </a:p>
        </p:txBody>
      </p:sp>
      <p:sp>
        <p:nvSpPr>
          <p:cNvPr id="11" name="Rectangle 10">
            <a:extLst>
              <a:ext uri="{FF2B5EF4-FFF2-40B4-BE49-F238E27FC236}">
                <a16:creationId xmlns:a16="http://schemas.microsoft.com/office/drawing/2014/main" id="{5A03405A-D563-48EB-B8F8-68F4F3F9FF8D}"/>
              </a:ext>
            </a:extLst>
          </p:cNvPr>
          <p:cNvSpPr/>
          <p:nvPr userDrawn="1"/>
        </p:nvSpPr>
        <p:spPr bwMode="auto">
          <a:xfrm>
            <a:off x="0" y="6792686"/>
            <a:ext cx="9906000" cy="65314"/>
          </a:xfrm>
          <a:prstGeom prst="rect">
            <a:avLst/>
          </a:prstGeom>
          <a:gradFill flip="none" rotWithShape="1">
            <a:gsLst>
              <a:gs pos="0">
                <a:srgbClr val="05405E"/>
              </a:gs>
              <a:gs pos="30000">
                <a:srgbClr val="064F67"/>
              </a:gs>
              <a:gs pos="80500">
                <a:srgbClr val="1994CB"/>
              </a:gs>
              <a:gs pos="61000">
                <a:srgbClr val="107AAB"/>
              </a:gs>
              <a:gs pos="100000">
                <a:srgbClr val="1EABD9"/>
              </a:gs>
            </a:gsLst>
            <a:lin ang="0" scaled="1"/>
            <a:tileRect/>
          </a:gradFill>
          <a:ln w="12700">
            <a:noFill/>
            <a:round/>
            <a:headEnd/>
            <a:tailEnd/>
          </a:ln>
        </p:spPr>
        <p:txBody>
          <a:bodyPr wrap="square" lIns="0" tIns="0" rIns="0" bIns="0" rtlCol="0" anchor="ctr">
            <a:noAutofit/>
          </a:bodyPr>
          <a:lstStyle/>
          <a:p>
            <a:pPr algn="l"/>
            <a:endParaRPr lang="de-DE" dirty="0">
              <a:solidFill>
                <a:schemeClr val="tx2"/>
              </a:solidFill>
              <a:latin typeface="Poppins Medium" panose="00000600000000000000" pitchFamily="2" charset="0"/>
              <a:cs typeface="Poppins Medium" panose="00000600000000000000" pitchFamily="2" charset="0"/>
            </a:endParaRPr>
          </a:p>
        </p:txBody>
      </p:sp>
      <p:sp>
        <p:nvSpPr>
          <p:cNvPr id="2" name="Slide Number Placeholder 1">
            <a:extLst>
              <a:ext uri="{FF2B5EF4-FFF2-40B4-BE49-F238E27FC236}">
                <a16:creationId xmlns:a16="http://schemas.microsoft.com/office/drawing/2014/main" id="{9530DD37-1CDB-4383-B086-C7536B511E4E}"/>
              </a:ext>
            </a:extLst>
          </p:cNvPr>
          <p:cNvSpPr>
            <a:spLocks noGrp="1"/>
          </p:cNvSpPr>
          <p:nvPr>
            <p:ph type="sldNum" sz="quarter" idx="4"/>
          </p:nvPr>
        </p:nvSpPr>
        <p:spPr>
          <a:xfrm>
            <a:off x="9142794" y="6473550"/>
            <a:ext cx="410735" cy="190800"/>
          </a:xfrm>
          <a:prstGeom prst="rect">
            <a:avLst/>
          </a:prstGeom>
        </p:spPr>
        <p:txBody>
          <a:bodyPr vert="horz" lIns="91440" tIns="45720" rIns="91440" bIns="45720" rtlCol="0" anchor="ctr"/>
          <a:lstStyle>
            <a:lvl1pPr algn="r">
              <a:defRPr sz="1200">
                <a:solidFill>
                  <a:srgbClr val="8996A0"/>
                </a:solidFill>
                <a:latin typeface="+mn-lt"/>
                <a:cs typeface="Arial" panose="020B0604020202020204" pitchFamily="34" charset="0"/>
              </a:defRPr>
            </a:lvl1pPr>
          </a:lstStyle>
          <a:p>
            <a:fld id="{914292A2-C371-4A90-A5CC-38E01B82EA60}" type="slidenum">
              <a:rPr lang="de-DE" smtClean="0"/>
              <a:pPr/>
              <a:t>‹#›</a:t>
            </a:fld>
            <a:endParaRPr lang="de-DE" dirty="0"/>
          </a:p>
        </p:txBody>
      </p:sp>
      <p:sp>
        <p:nvSpPr>
          <p:cNvPr id="13" name="Text Placeholder 11">
            <a:extLst>
              <a:ext uri="{FF2B5EF4-FFF2-40B4-BE49-F238E27FC236}">
                <a16:creationId xmlns:a16="http://schemas.microsoft.com/office/drawing/2014/main" id="{D3DD8797-720F-054F-966B-82168CC2240E}"/>
              </a:ext>
            </a:extLst>
          </p:cNvPr>
          <p:cNvSpPr txBox="1">
            <a:spLocks/>
          </p:cNvSpPr>
          <p:nvPr userDrawn="1"/>
        </p:nvSpPr>
        <p:spPr>
          <a:xfrm>
            <a:off x="417513" y="6506116"/>
            <a:ext cx="3142800" cy="136800"/>
          </a:xfrm>
          <a:prstGeom prst="rect">
            <a:avLst/>
          </a:prstGeom>
        </p:spPr>
        <p:txBody>
          <a:bodyPr lIns="90000" tIns="46800" rIns="90000" bIns="46800" anchor="ctr" anchorCtr="0"/>
          <a:lstStyle>
            <a:lvl1pPr marL="0" marR="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defRPr sz="900">
                <a:solidFill>
                  <a:srgbClr val="05405E"/>
                </a:solidFill>
                <a:latin typeface="Poppins" panose="00000500000000000000" pitchFamily="2" charset="0"/>
                <a:ea typeface="+mn-ea"/>
                <a:cs typeface="Poppins" panose="00000500000000000000" pitchFamily="2" charset="0"/>
              </a:defRPr>
            </a:lvl1pPr>
            <a:lvl2pPr marL="13652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2pPr>
            <a:lvl3pPr marL="28575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3pPr>
            <a:lvl4pPr marL="42227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4pPr>
            <a:lvl5pPr marL="57150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a:lstStyle>
          <a:p>
            <a:endParaRPr lang="hu-HU" kern="0" dirty="0"/>
          </a:p>
        </p:txBody>
      </p:sp>
      <p:sp>
        <p:nvSpPr>
          <p:cNvPr id="7" name="Text Placeholder 6">
            <a:extLst>
              <a:ext uri="{FF2B5EF4-FFF2-40B4-BE49-F238E27FC236}">
                <a16:creationId xmlns:a16="http://schemas.microsoft.com/office/drawing/2014/main" id="{D60A0B2E-67CA-BC42-B608-B03AFD49884C}"/>
              </a:ext>
            </a:extLst>
          </p:cNvPr>
          <p:cNvSpPr>
            <a:spLocks noGrp="1"/>
          </p:cNvSpPr>
          <p:nvPr>
            <p:ph type="body" idx="1"/>
          </p:nvPr>
        </p:nvSpPr>
        <p:spPr>
          <a:xfrm>
            <a:off x="427392" y="726856"/>
            <a:ext cx="3988800" cy="183600"/>
          </a:xfrm>
          <a:prstGeom prst="rect">
            <a:avLst/>
          </a:prstGeom>
        </p:spPr>
        <p:txBody>
          <a:bodyPr vert="horz" lIns="0" tIns="0" rIns="0" bIns="0" rtlCol="0" anchor="ctr" anchorCtr="0">
            <a:normAutofit/>
          </a:bodyPr>
          <a:lstStyle/>
          <a:p>
            <a:pPr lvl="0"/>
            <a:endParaRPr lang="hu-HU" dirty="0"/>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Lst>
  <p:transition>
    <p:fade/>
  </p:transition>
  <p:hf hdr="0" ftr="0" dt="0"/>
  <p:txStyles>
    <p:title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marL="0" indent="0" algn="l" rtl="0" eaLnBrk="1" fontAlgn="base" hangingPunct="1">
        <a:spcBef>
          <a:spcPct val="50000"/>
        </a:spcBef>
        <a:spcAft>
          <a:spcPct val="0"/>
        </a:spcAft>
        <a:buFont typeface="Wingdings" panose="05000000000000000000" pitchFamily="2" charset="2"/>
        <a:buNone/>
        <a:defRPr sz="1200">
          <a:solidFill>
            <a:srgbClr val="107AAB"/>
          </a:solidFill>
          <a:latin typeface="Poppins" panose="00000500000000000000" pitchFamily="2" charset="0"/>
          <a:ea typeface="+mn-ea"/>
          <a:cs typeface="Poppins" panose="00000500000000000000" pitchFamily="2" charset="0"/>
        </a:defRPr>
      </a:lvl1pPr>
      <a:lvl2pPr marL="13652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2pPr>
      <a:lvl3pPr marL="28575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3pPr>
      <a:lvl4pPr marL="422275" indent="-1349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4pPr>
      <a:lvl5pPr marL="571500" indent="-147638" algn="l" rtl="0" eaLnBrk="1" fontAlgn="base" hangingPunct="1">
        <a:spcBef>
          <a:spcPct val="50000"/>
        </a:spcBef>
        <a:spcAft>
          <a:spcPct val="0"/>
        </a:spcAft>
        <a:buFont typeface="Wingdings" panose="05000000000000000000" pitchFamily="2" charset="2"/>
        <a:buChar char="§"/>
        <a:defRPr sz="1200">
          <a:solidFill>
            <a:srgbClr val="05405E"/>
          </a:solidFill>
          <a:latin typeface="Poppins" panose="00000500000000000000" pitchFamily="2" charset="0"/>
          <a:cs typeface="Poppins" panose="00000500000000000000" pitchFamily="2" charset="0"/>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3" userDrawn="1">
          <p15:clr>
            <a:srgbClr val="F26B43"/>
          </p15:clr>
        </p15:guide>
        <p15:guide id="2" pos="5978" userDrawn="1">
          <p15:clr>
            <a:srgbClr val="F26B43"/>
          </p15:clr>
        </p15:guide>
        <p15:guide id="3" orient="horz" pos="753" userDrawn="1">
          <p15:clr>
            <a:srgbClr val="F26B43"/>
          </p15:clr>
        </p15:guide>
        <p15:guide id="4" orient="horz" pos="3960" userDrawn="1">
          <p15:clr>
            <a:srgbClr val="F26B43"/>
          </p15:clr>
        </p15:guide>
        <p15:guide id="5" pos="3272" userDrawn="1">
          <p15:clr>
            <a:srgbClr val="F26B43"/>
          </p15:clr>
        </p15:guide>
        <p15:guide id="6" pos="2968" userDrawn="1">
          <p15:clr>
            <a:srgbClr val="F26B43"/>
          </p15:clr>
        </p15:guide>
        <p15:guide id="7"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52D2D05-AFAD-F245-B742-064E7D4FDE33}"/>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8" name="Rectangle 7">
            <a:extLst>
              <a:ext uri="{FF2B5EF4-FFF2-40B4-BE49-F238E27FC236}">
                <a16:creationId xmlns:a16="http://schemas.microsoft.com/office/drawing/2014/main" id="{9F270D61-2BC3-8E44-8313-2EBAB2B99A65}"/>
              </a:ext>
            </a:extLst>
          </p:cNvPr>
          <p:cNvSpPr/>
          <p:nvPr/>
        </p:nvSpPr>
        <p:spPr bwMode="auto">
          <a:xfrm>
            <a:off x="0" y="4490523"/>
            <a:ext cx="9906000" cy="1685388"/>
          </a:xfrm>
          <a:prstGeom prst="rect">
            <a:avLst/>
          </a:prstGeom>
          <a:gradFill flip="none" rotWithShape="1">
            <a:gsLst>
              <a:gs pos="0">
                <a:srgbClr val="05405E">
                  <a:alpha val="90000"/>
                </a:srgbClr>
              </a:gs>
              <a:gs pos="30000">
                <a:srgbClr val="064F67">
                  <a:alpha val="90000"/>
                </a:srgbClr>
              </a:gs>
              <a:gs pos="80500">
                <a:srgbClr val="1994CB">
                  <a:alpha val="90000"/>
                </a:srgbClr>
              </a:gs>
              <a:gs pos="61000">
                <a:srgbClr val="107AAB">
                  <a:alpha val="90000"/>
                </a:srgbClr>
              </a:gs>
              <a:gs pos="100000">
                <a:srgbClr val="1EABD9">
                  <a:alpha val="90000"/>
                </a:srgbClr>
              </a:gs>
            </a:gsLst>
            <a:lin ang="0" scaled="1"/>
            <a:tileRect/>
          </a:gradFill>
          <a:ln w="12700">
            <a:noFill/>
            <a:round/>
            <a:headEnd/>
            <a:tailEnd/>
          </a:ln>
        </p:spPr>
        <p:txBody>
          <a:bodyPr wrap="square" lIns="0" tIns="0" rIns="0" bIns="0" rtlCol="0" anchor="ctr">
            <a:noAutofit/>
          </a:bodyPr>
          <a:lstStyle/>
          <a:p>
            <a:pPr algn="l"/>
            <a:endParaRPr lang="de-DE" dirty="0">
              <a:solidFill>
                <a:schemeClr val="tx2"/>
              </a:solidFill>
              <a:latin typeface="Poppins Medium" panose="00000600000000000000" pitchFamily="2" charset="0"/>
              <a:cs typeface="Poppins Medium" panose="00000600000000000000" pitchFamily="2" charset="0"/>
            </a:endParaRPr>
          </a:p>
        </p:txBody>
      </p:sp>
      <p:sp>
        <p:nvSpPr>
          <p:cNvPr id="10" name="TextBox 9">
            <a:extLst>
              <a:ext uri="{FF2B5EF4-FFF2-40B4-BE49-F238E27FC236}">
                <a16:creationId xmlns:a16="http://schemas.microsoft.com/office/drawing/2014/main" id="{FE901427-B380-1848-9A19-3BBE9F498907}"/>
              </a:ext>
            </a:extLst>
          </p:cNvPr>
          <p:cNvSpPr txBox="1"/>
          <p:nvPr/>
        </p:nvSpPr>
        <p:spPr>
          <a:xfrm>
            <a:off x="309334" y="4917719"/>
            <a:ext cx="6047015" cy="461665"/>
          </a:xfrm>
          <a:prstGeom prst="rect">
            <a:avLst/>
          </a:prstGeom>
          <a:noFill/>
        </p:spPr>
        <p:txBody>
          <a:bodyPr wrap="square" rtlCol="0">
            <a:spAutoFit/>
          </a:bodyPr>
          <a:lstStyle/>
          <a:p>
            <a:pPr algn="l"/>
            <a:r>
              <a:rPr lang="en-US" sz="2400" dirty="0">
                <a:solidFill>
                  <a:schemeClr val="bg1"/>
                </a:solidFill>
                <a:latin typeface="Poppins Black" panose="00000A00000000000000" pitchFamily="2" charset="0"/>
                <a:cs typeface="Poppins Black" panose="00000A00000000000000" pitchFamily="2" charset="0"/>
              </a:rPr>
              <a:t>Title</a:t>
            </a:r>
          </a:p>
        </p:txBody>
      </p:sp>
      <p:sp>
        <p:nvSpPr>
          <p:cNvPr id="11" name="TextBox 10">
            <a:extLst>
              <a:ext uri="{FF2B5EF4-FFF2-40B4-BE49-F238E27FC236}">
                <a16:creationId xmlns:a16="http://schemas.microsoft.com/office/drawing/2014/main" id="{65E83F63-68F5-164D-8F9C-8953E82BCDCB}"/>
              </a:ext>
            </a:extLst>
          </p:cNvPr>
          <p:cNvSpPr txBox="1"/>
          <p:nvPr/>
        </p:nvSpPr>
        <p:spPr>
          <a:xfrm>
            <a:off x="1386567" y="1905812"/>
            <a:ext cx="7132866" cy="461665"/>
          </a:xfrm>
          <a:prstGeom prst="rect">
            <a:avLst/>
          </a:prstGeom>
          <a:noFill/>
        </p:spPr>
        <p:txBody>
          <a:bodyPr wrap="square" rtlCol="0">
            <a:spAutoFit/>
          </a:bodyPr>
          <a:lstStyle/>
          <a:p>
            <a:r>
              <a:rPr lang="en-US" sz="2400" i="1" dirty="0">
                <a:solidFill>
                  <a:srgbClr val="107AAB"/>
                </a:solidFill>
                <a:latin typeface="Poppins Black" panose="00000A00000000000000" pitchFamily="2" charset="0"/>
                <a:cs typeface="Poppins Black" panose="00000A00000000000000" pitchFamily="2" charset="0"/>
              </a:rPr>
              <a:t>Innovation – productivity - optimization</a:t>
            </a:r>
          </a:p>
        </p:txBody>
      </p:sp>
      <p:sp>
        <p:nvSpPr>
          <p:cNvPr id="12" name="TextBox 11">
            <a:extLst>
              <a:ext uri="{FF2B5EF4-FFF2-40B4-BE49-F238E27FC236}">
                <a16:creationId xmlns:a16="http://schemas.microsoft.com/office/drawing/2014/main" id="{EB96D445-B31A-D246-A050-03712BA7175F}"/>
              </a:ext>
            </a:extLst>
          </p:cNvPr>
          <p:cNvSpPr txBox="1"/>
          <p:nvPr/>
        </p:nvSpPr>
        <p:spPr>
          <a:xfrm>
            <a:off x="7595506" y="227576"/>
            <a:ext cx="2016595" cy="276999"/>
          </a:xfrm>
          <a:prstGeom prst="rect">
            <a:avLst/>
          </a:prstGeom>
          <a:noFill/>
        </p:spPr>
        <p:txBody>
          <a:bodyPr wrap="square" rtlCol="0">
            <a:spAutoFit/>
          </a:bodyPr>
          <a:lstStyle/>
          <a:p>
            <a:pPr algn="r"/>
            <a:r>
              <a:rPr lang="de-DE" dirty="0">
                <a:solidFill>
                  <a:srgbClr val="05405E"/>
                </a:solidFill>
                <a:latin typeface="Poppins Medium" panose="00000600000000000000" pitchFamily="2" charset="0"/>
                <a:cs typeface="Poppins Medium" panose="00000600000000000000" pitchFamily="2" charset="0"/>
              </a:rPr>
              <a:t>Nordic</a:t>
            </a:r>
            <a:r>
              <a:rPr lang="de-DE" dirty="0">
                <a:latin typeface="Poppins Medium" panose="00000600000000000000" pitchFamily="2" charset="0"/>
                <a:cs typeface="Poppins Medium" panose="00000600000000000000" pitchFamily="2" charset="0"/>
              </a:rPr>
              <a:t> </a:t>
            </a:r>
            <a:r>
              <a:rPr lang="de-DE" dirty="0">
                <a:solidFill>
                  <a:srgbClr val="1EABD9"/>
                </a:solidFill>
                <a:latin typeface="Poppins Medium" panose="00000600000000000000" pitchFamily="2" charset="0"/>
                <a:cs typeface="Poppins Medium" panose="00000600000000000000" pitchFamily="2" charset="0"/>
              </a:rPr>
              <a:t>Consulting</a:t>
            </a:r>
          </a:p>
        </p:txBody>
      </p:sp>
    </p:spTree>
    <p:extLst>
      <p:ext uri="{BB962C8B-B14F-4D97-AF65-F5344CB8AC3E}">
        <p14:creationId xmlns:p14="http://schemas.microsoft.com/office/powerpoint/2010/main" val="19611115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a:xfrm>
            <a:off x="417513" y="227576"/>
            <a:ext cx="7362382" cy="460800"/>
          </a:xfrm>
        </p:spPr>
        <p:txBody>
          <a:bodyPr/>
          <a:lstStyle/>
          <a:p>
            <a:r>
              <a:rPr lang="en-IN" b="1" i="0" dirty="0">
                <a:solidFill>
                  <a:srgbClr val="05365E"/>
                </a:solidFill>
                <a:effectLst/>
              </a:rPr>
              <a:t>Top Business Problems and Their Solutions</a:t>
            </a:r>
            <a:endParaRPr lang="hu-HU" dirty="0">
              <a:solidFill>
                <a:srgbClr val="05365E"/>
              </a:solidFill>
            </a:endParaRPr>
          </a:p>
        </p:txBody>
      </p:sp>
      <p:sp>
        <p:nvSpPr>
          <p:cNvPr id="3" name="Slide Number Placeholder 2">
            <a:extLst>
              <a:ext uri="{FF2B5EF4-FFF2-40B4-BE49-F238E27FC236}">
                <a16:creationId xmlns:a16="http://schemas.microsoft.com/office/drawing/2014/main" id="{65A9BBBC-F954-E54D-9D73-7D2BC3054F9C}"/>
              </a:ext>
            </a:extLst>
          </p:cNvPr>
          <p:cNvSpPr>
            <a:spLocks noGrp="1"/>
          </p:cNvSpPr>
          <p:nvPr>
            <p:ph type="sldNum" sz="quarter" idx="10"/>
          </p:nvPr>
        </p:nvSpPr>
        <p:spPr/>
        <p:txBody>
          <a:bodyPr/>
          <a:lstStyle/>
          <a:p>
            <a:fld id="{914292A2-C371-4A90-A5CC-38E01B82EA60}" type="slidenum">
              <a:rPr lang="de-DE" smtClean="0"/>
              <a:pPr/>
              <a:t>2</a:t>
            </a:fld>
            <a:endParaRPr lang="de-DE" dirty="0"/>
          </a:p>
        </p:txBody>
      </p:sp>
      <p:sp>
        <p:nvSpPr>
          <p:cNvPr id="19" name="Rectangle 18">
            <a:extLst>
              <a:ext uri="{FF2B5EF4-FFF2-40B4-BE49-F238E27FC236}">
                <a16:creationId xmlns:a16="http://schemas.microsoft.com/office/drawing/2014/main" id="{9C7421FA-1C84-4AE4-9C1E-4D4C7DC950B7}"/>
              </a:ext>
            </a:extLst>
          </p:cNvPr>
          <p:cNvSpPr/>
          <p:nvPr/>
        </p:nvSpPr>
        <p:spPr bwMode="auto">
          <a:xfrm>
            <a:off x="418102" y="1195542"/>
            <a:ext cx="1874520"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0" name="Rectangle 19">
            <a:extLst>
              <a:ext uri="{FF2B5EF4-FFF2-40B4-BE49-F238E27FC236}">
                <a16:creationId xmlns:a16="http://schemas.microsoft.com/office/drawing/2014/main" id="{9F24DFDD-2E17-44DF-8333-4B2D4A14BBBE}"/>
              </a:ext>
            </a:extLst>
          </p:cNvPr>
          <p:cNvSpPr/>
          <p:nvPr/>
        </p:nvSpPr>
        <p:spPr bwMode="auto">
          <a:xfrm>
            <a:off x="3129788" y="1197447"/>
            <a:ext cx="1581912" cy="0"/>
          </a:xfrm>
          <a:prstGeom prst="rect">
            <a:avLst/>
          </a:prstGeom>
          <a:solidFill>
            <a:srgbClr val="05405E"/>
          </a:solidFill>
          <a:ln w="12700">
            <a:noFill/>
            <a:round/>
            <a:headEnd/>
            <a:tailEnd/>
          </a:ln>
        </p:spPr>
        <p:txBody>
          <a:bodyPr wrap="none" lIns="182880" tIns="182880" rIns="182880" bIns="182880" rtlCol="0" anchor="ctr">
            <a:noAutofit/>
          </a:bodyPr>
          <a:lstStyle/>
          <a:p>
            <a:r>
              <a:rPr lang="en-US" b="1" dirty="0">
                <a:solidFill>
                  <a:schemeClr val="bg1"/>
                </a:solidFill>
                <a:latin typeface="Poppins Medium" panose="00000600000000000000" pitchFamily="2" charset="0"/>
                <a:cs typeface="Poppins Medium" panose="00000600000000000000" pitchFamily="2" charset="0"/>
              </a:rPr>
              <a:t>Header example</a:t>
            </a:r>
          </a:p>
        </p:txBody>
      </p:sp>
      <p:sp>
        <p:nvSpPr>
          <p:cNvPr id="21" name="Rectangle 20">
            <a:extLst>
              <a:ext uri="{FF2B5EF4-FFF2-40B4-BE49-F238E27FC236}">
                <a16:creationId xmlns:a16="http://schemas.microsoft.com/office/drawing/2014/main" id="{72F76ADE-4BE4-4C7A-ADC4-B5581E96881D}"/>
              </a:ext>
            </a:extLst>
          </p:cNvPr>
          <p:cNvSpPr/>
          <p:nvPr/>
        </p:nvSpPr>
        <p:spPr bwMode="auto">
          <a:xfrm>
            <a:off x="2342388" y="1195542"/>
            <a:ext cx="3547872"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2" name="Rectangle 21">
            <a:extLst>
              <a:ext uri="{FF2B5EF4-FFF2-40B4-BE49-F238E27FC236}">
                <a16:creationId xmlns:a16="http://schemas.microsoft.com/office/drawing/2014/main" id="{2835AC00-39E0-4A09-BDBC-64790557A870}"/>
              </a:ext>
            </a:extLst>
          </p:cNvPr>
          <p:cNvSpPr/>
          <p:nvPr/>
        </p:nvSpPr>
        <p:spPr bwMode="auto">
          <a:xfrm>
            <a:off x="5942203" y="1195542"/>
            <a:ext cx="3547872" cy="620704"/>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3" name="Rectangle 22">
            <a:extLst>
              <a:ext uri="{FF2B5EF4-FFF2-40B4-BE49-F238E27FC236}">
                <a16:creationId xmlns:a16="http://schemas.microsoft.com/office/drawing/2014/main" id="{CD2C872E-E2C4-4686-A986-E5749D2AE41D}"/>
              </a:ext>
            </a:extLst>
          </p:cNvPr>
          <p:cNvSpPr/>
          <p:nvPr/>
        </p:nvSpPr>
        <p:spPr bwMode="auto">
          <a:xfrm>
            <a:off x="418102" y="1880209"/>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4" name="Rectangle 23">
            <a:extLst>
              <a:ext uri="{FF2B5EF4-FFF2-40B4-BE49-F238E27FC236}">
                <a16:creationId xmlns:a16="http://schemas.microsoft.com/office/drawing/2014/main" id="{1FEB884F-D8DA-4794-9E3B-F07652DDACBA}"/>
              </a:ext>
            </a:extLst>
          </p:cNvPr>
          <p:cNvSpPr/>
          <p:nvPr/>
        </p:nvSpPr>
        <p:spPr bwMode="auto">
          <a:xfrm>
            <a:off x="417830" y="3145528"/>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5" name="Rectangle 24">
            <a:extLst>
              <a:ext uri="{FF2B5EF4-FFF2-40B4-BE49-F238E27FC236}">
                <a16:creationId xmlns:a16="http://schemas.microsoft.com/office/drawing/2014/main" id="{B983686A-9EF3-4315-9098-748A9968FB7D}"/>
              </a:ext>
            </a:extLst>
          </p:cNvPr>
          <p:cNvSpPr/>
          <p:nvPr/>
        </p:nvSpPr>
        <p:spPr bwMode="auto">
          <a:xfrm>
            <a:off x="419735" y="4410847"/>
            <a:ext cx="1874520" cy="1199738"/>
          </a:xfrm>
          <a:prstGeom prst="rect">
            <a:avLst/>
          </a:prstGeom>
          <a:solidFill>
            <a:srgbClr val="05405E"/>
          </a:solidFill>
          <a:ln w="12700">
            <a:noFill/>
            <a:round/>
            <a:headEnd/>
            <a:tailEnd/>
          </a:ln>
        </p:spPr>
        <p:txBody>
          <a:bodyPr wrap="none" lIns="182880" tIns="182880" rIns="182880" bIns="182880" rtlCol="0" anchor="ctr">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6" name="Rectangle 25">
            <a:extLst>
              <a:ext uri="{FF2B5EF4-FFF2-40B4-BE49-F238E27FC236}">
                <a16:creationId xmlns:a16="http://schemas.microsoft.com/office/drawing/2014/main" id="{239B06FC-4C55-409D-B9BD-C1BFCDDC9D84}"/>
              </a:ext>
            </a:extLst>
          </p:cNvPr>
          <p:cNvSpPr/>
          <p:nvPr/>
        </p:nvSpPr>
        <p:spPr bwMode="auto">
          <a:xfrm>
            <a:off x="2342388" y="1880209"/>
            <a:ext cx="3547872" cy="1199737"/>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To run out of cash, due to one reason or other. This can cause a business to delay payments, which results in heavy fees and other such problems One of the major reasons for entrepreneurs to be worried is financial issues. It is common for businesses </a:t>
            </a:r>
          </a:p>
        </p:txBody>
      </p:sp>
      <p:sp>
        <p:nvSpPr>
          <p:cNvPr id="27" name="Rectangle 26">
            <a:extLst>
              <a:ext uri="{FF2B5EF4-FFF2-40B4-BE49-F238E27FC236}">
                <a16:creationId xmlns:a16="http://schemas.microsoft.com/office/drawing/2014/main" id="{7F4B8D10-96DC-44AF-A7C5-63F8BABC045F}"/>
              </a:ext>
            </a:extLst>
          </p:cNvPr>
          <p:cNvSpPr/>
          <p:nvPr/>
        </p:nvSpPr>
        <p:spPr bwMode="auto">
          <a:xfrm>
            <a:off x="2342388" y="3145528"/>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Client issues include not having enough clients or having clients that are very difficult to work with.</a:t>
            </a:r>
          </a:p>
          <a:p>
            <a:pPr marL="171450" indent="-171450" algn="l">
              <a:buFont typeface="Wingdings" panose="05000000000000000000" pitchFamily="2" charset="2"/>
              <a:buChar char="§"/>
            </a:pPr>
            <a:endParaRPr lang="en-US" dirty="0">
              <a:solidFill>
                <a:srgbClr val="F2F2F2"/>
              </a:solidFill>
              <a:latin typeface="Poppins Medium" panose="00000600000000000000" pitchFamily="2" charset="0"/>
              <a:cs typeface="Poppins Medium" panose="00000600000000000000" pitchFamily="2" charset="0"/>
            </a:endParaRPr>
          </a:p>
        </p:txBody>
      </p:sp>
      <p:sp>
        <p:nvSpPr>
          <p:cNvPr id="28" name="Rectangle 27">
            <a:extLst>
              <a:ext uri="{FF2B5EF4-FFF2-40B4-BE49-F238E27FC236}">
                <a16:creationId xmlns:a16="http://schemas.microsoft.com/office/drawing/2014/main" id="{84348AF4-FB43-4C41-A960-8F260756C6A2}"/>
              </a:ext>
            </a:extLst>
          </p:cNvPr>
          <p:cNvSpPr/>
          <p:nvPr/>
        </p:nvSpPr>
        <p:spPr bwMode="auto">
          <a:xfrm>
            <a:off x="2342388" y="4406880"/>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Inventory issues include running out of inventory. This can be due to several reasons including poor management or not having enough cash to buy inventory.</a:t>
            </a:r>
          </a:p>
        </p:txBody>
      </p:sp>
      <p:sp>
        <p:nvSpPr>
          <p:cNvPr id="29" name="Rectangle 28">
            <a:extLst>
              <a:ext uri="{FF2B5EF4-FFF2-40B4-BE49-F238E27FC236}">
                <a16:creationId xmlns:a16="http://schemas.microsoft.com/office/drawing/2014/main" id="{4BFE680F-2DC7-46F4-870F-F51065E4F9AD}"/>
              </a:ext>
            </a:extLst>
          </p:cNvPr>
          <p:cNvSpPr/>
          <p:nvPr/>
        </p:nvSpPr>
        <p:spPr bwMode="auto">
          <a:xfrm>
            <a:off x="5950224" y="1880209"/>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In such a situation a business has two options, i.e.: to decrease spending and to increase revenue. </a:t>
            </a:r>
          </a:p>
          <a:p>
            <a:pPr marL="171450" indent="-171450" algn="l">
              <a:buFont typeface="Wingdings" panose="05000000000000000000" pitchFamily="2" charset="2"/>
              <a:buChar char="§"/>
            </a:pPr>
            <a:endParaRPr lang="en-US" dirty="0">
              <a:solidFill>
                <a:srgbClr val="05405E"/>
              </a:solidFill>
              <a:latin typeface="Poppins Medium" panose="00000600000000000000" pitchFamily="2" charset="0"/>
              <a:cs typeface="Poppins Medium" panose="00000600000000000000" pitchFamily="2" charset="0"/>
            </a:endParaRPr>
          </a:p>
        </p:txBody>
      </p:sp>
      <p:sp>
        <p:nvSpPr>
          <p:cNvPr id="30" name="Rectangle 29">
            <a:extLst>
              <a:ext uri="{FF2B5EF4-FFF2-40B4-BE49-F238E27FC236}">
                <a16:creationId xmlns:a16="http://schemas.microsoft.com/office/drawing/2014/main" id="{406D04B3-BC6D-4494-A6AC-DD1F08F11CB8}"/>
              </a:ext>
            </a:extLst>
          </p:cNvPr>
          <p:cNvSpPr/>
          <p:nvPr/>
        </p:nvSpPr>
        <p:spPr bwMode="auto">
          <a:xfrm>
            <a:off x="5950224" y="3145528"/>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The best option is to be careful when picking clients and to stay away from troublesome individuals. Secondly, draw up a contract that prevents your rights and puts limitations on the kind of demands a client can make.</a:t>
            </a:r>
          </a:p>
        </p:txBody>
      </p:sp>
      <p:sp>
        <p:nvSpPr>
          <p:cNvPr id="31" name="Rectangle 30">
            <a:extLst>
              <a:ext uri="{FF2B5EF4-FFF2-40B4-BE49-F238E27FC236}">
                <a16:creationId xmlns:a16="http://schemas.microsoft.com/office/drawing/2014/main" id="{95598CD9-1A9B-4398-A42B-405D2DBA86AA}"/>
              </a:ext>
            </a:extLst>
          </p:cNvPr>
          <p:cNvSpPr/>
          <p:nvPr/>
        </p:nvSpPr>
        <p:spPr bwMode="auto">
          <a:xfrm>
            <a:off x="5950224" y="4406880"/>
            <a:ext cx="3547872" cy="1199738"/>
          </a:xfrm>
          <a:prstGeom prst="rect">
            <a:avLst/>
          </a:prstGeom>
          <a:solidFill>
            <a:srgbClr val="F2F2F2"/>
          </a:solidFill>
          <a:ln w="12700">
            <a:noFill/>
            <a:round/>
            <a:headEnd/>
            <a:tailEnd/>
          </a:ln>
        </p:spPr>
        <p:txBody>
          <a:bodyPr wrap="square" lIns="182880" tIns="182880" rIns="182880" bIns="182880" rtlCol="0" anchor="t">
            <a:noAutofit/>
          </a:bodyPr>
          <a:lstStyle/>
          <a:p>
            <a:pPr algn="l"/>
            <a:r>
              <a:rPr lang="en-IN" sz="1050" dirty="0">
                <a:latin typeface="+mn-lt"/>
              </a:rPr>
              <a:t>The solution is to use an inventory management software so that you are well aware of what you need and when. This way you will never run out of inventory</a:t>
            </a:r>
          </a:p>
        </p:txBody>
      </p:sp>
      <p:sp>
        <p:nvSpPr>
          <p:cNvPr id="32" name="TextBox 31">
            <a:extLst>
              <a:ext uri="{FF2B5EF4-FFF2-40B4-BE49-F238E27FC236}">
                <a16:creationId xmlns:a16="http://schemas.microsoft.com/office/drawing/2014/main" id="{0FD1B839-4889-4ACB-8599-F460BA020916}"/>
              </a:ext>
            </a:extLst>
          </p:cNvPr>
          <p:cNvSpPr txBox="1"/>
          <p:nvPr/>
        </p:nvSpPr>
        <p:spPr>
          <a:xfrm>
            <a:off x="682688" y="2201282"/>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Financial</a:t>
            </a:r>
          </a:p>
        </p:txBody>
      </p:sp>
      <p:sp>
        <p:nvSpPr>
          <p:cNvPr id="33" name="TextBox 32">
            <a:extLst>
              <a:ext uri="{FF2B5EF4-FFF2-40B4-BE49-F238E27FC236}">
                <a16:creationId xmlns:a16="http://schemas.microsoft.com/office/drawing/2014/main" id="{5AFE8923-AE74-4B79-A40A-434BA1816BE4}"/>
              </a:ext>
            </a:extLst>
          </p:cNvPr>
          <p:cNvSpPr txBox="1"/>
          <p:nvPr/>
        </p:nvSpPr>
        <p:spPr>
          <a:xfrm>
            <a:off x="682688" y="3466601"/>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Client</a:t>
            </a:r>
          </a:p>
        </p:txBody>
      </p:sp>
      <p:sp>
        <p:nvSpPr>
          <p:cNvPr id="34" name="TextBox 33">
            <a:extLst>
              <a:ext uri="{FF2B5EF4-FFF2-40B4-BE49-F238E27FC236}">
                <a16:creationId xmlns:a16="http://schemas.microsoft.com/office/drawing/2014/main" id="{1EF81880-3D43-46E0-B97D-ED3F82FBCB17}"/>
              </a:ext>
            </a:extLst>
          </p:cNvPr>
          <p:cNvSpPr txBox="1"/>
          <p:nvPr/>
        </p:nvSpPr>
        <p:spPr>
          <a:xfrm>
            <a:off x="682688" y="4731920"/>
            <a:ext cx="1340995" cy="587573"/>
          </a:xfrm>
          <a:prstGeom prst="rect">
            <a:avLst/>
          </a:prstGeom>
          <a:noFill/>
        </p:spPr>
        <p:txBody>
          <a:bodyPr wrap="square" lIns="182880" tIns="182880" rIns="182880" bIns="182880" rtlCol="0">
            <a:noAutofit/>
          </a:bodyPr>
          <a:lstStyle/>
          <a:p>
            <a:r>
              <a:rPr lang="en-IN" sz="1050" b="1" dirty="0">
                <a:solidFill>
                  <a:schemeClr val="bg1"/>
                </a:solidFill>
                <a:latin typeface="+mn-lt"/>
              </a:rPr>
              <a:t>Inventory</a:t>
            </a:r>
          </a:p>
        </p:txBody>
      </p:sp>
      <p:sp>
        <p:nvSpPr>
          <p:cNvPr id="35" name="TextBox 34">
            <a:extLst>
              <a:ext uri="{FF2B5EF4-FFF2-40B4-BE49-F238E27FC236}">
                <a16:creationId xmlns:a16="http://schemas.microsoft.com/office/drawing/2014/main" id="{D4AF50EF-5B7C-4B57-AD27-AAAC588E1236}"/>
              </a:ext>
            </a:extLst>
          </p:cNvPr>
          <p:cNvSpPr txBox="1"/>
          <p:nvPr/>
        </p:nvSpPr>
        <p:spPr>
          <a:xfrm>
            <a:off x="520285" y="1224301"/>
            <a:ext cx="1644623" cy="587573"/>
          </a:xfrm>
          <a:prstGeom prst="rect">
            <a:avLst/>
          </a:prstGeom>
          <a:noFill/>
        </p:spPr>
        <p:txBody>
          <a:bodyPr wrap="square" lIns="182880" tIns="182880" rIns="182880" bIns="182880" rtlCol="0">
            <a:noAutofit/>
          </a:bodyPr>
          <a:lstStyle/>
          <a:p>
            <a:r>
              <a:rPr lang="en-IN" sz="1050" b="1" dirty="0">
                <a:solidFill>
                  <a:schemeClr val="bg1"/>
                </a:solidFill>
                <a:latin typeface="+mn-lt"/>
              </a:rPr>
              <a:t>Issue category</a:t>
            </a:r>
          </a:p>
        </p:txBody>
      </p:sp>
      <p:sp>
        <p:nvSpPr>
          <p:cNvPr id="36" name="TextBox 35">
            <a:extLst>
              <a:ext uri="{FF2B5EF4-FFF2-40B4-BE49-F238E27FC236}">
                <a16:creationId xmlns:a16="http://schemas.microsoft.com/office/drawing/2014/main" id="{5413CCFC-77EE-44BC-9BD3-835E91DAE6C3}"/>
              </a:ext>
            </a:extLst>
          </p:cNvPr>
          <p:cNvSpPr txBox="1"/>
          <p:nvPr/>
        </p:nvSpPr>
        <p:spPr>
          <a:xfrm>
            <a:off x="3242087" y="1195388"/>
            <a:ext cx="1748474" cy="587573"/>
          </a:xfrm>
          <a:prstGeom prst="rect">
            <a:avLst/>
          </a:prstGeom>
          <a:noFill/>
        </p:spPr>
        <p:txBody>
          <a:bodyPr wrap="square" lIns="182880" tIns="182880" rIns="182880" bIns="182880" rtlCol="0">
            <a:noAutofit/>
          </a:bodyPr>
          <a:lstStyle/>
          <a:p>
            <a:r>
              <a:rPr lang="en-IN" sz="1050" b="1" dirty="0">
                <a:solidFill>
                  <a:schemeClr val="bg1"/>
                </a:solidFill>
                <a:latin typeface="+mn-lt"/>
              </a:rPr>
              <a:t>Problem</a:t>
            </a:r>
          </a:p>
        </p:txBody>
      </p:sp>
      <p:sp>
        <p:nvSpPr>
          <p:cNvPr id="37" name="TextBox 36">
            <a:extLst>
              <a:ext uri="{FF2B5EF4-FFF2-40B4-BE49-F238E27FC236}">
                <a16:creationId xmlns:a16="http://schemas.microsoft.com/office/drawing/2014/main" id="{3F02D562-DBC7-49CA-8642-6566A7BFB320}"/>
              </a:ext>
            </a:extLst>
          </p:cNvPr>
          <p:cNvSpPr txBox="1"/>
          <p:nvPr/>
        </p:nvSpPr>
        <p:spPr>
          <a:xfrm>
            <a:off x="6789959" y="1195388"/>
            <a:ext cx="1805528" cy="587573"/>
          </a:xfrm>
          <a:prstGeom prst="rect">
            <a:avLst/>
          </a:prstGeom>
          <a:noFill/>
        </p:spPr>
        <p:txBody>
          <a:bodyPr wrap="square" lIns="182880" tIns="182880" rIns="182880" bIns="182880" rtlCol="0">
            <a:noAutofit/>
          </a:bodyPr>
          <a:lstStyle/>
          <a:p>
            <a:r>
              <a:rPr lang="en-IN" sz="1050" b="1" dirty="0">
                <a:solidFill>
                  <a:schemeClr val="bg1"/>
                </a:solidFill>
                <a:latin typeface="+mn-lt"/>
              </a:rPr>
              <a:t>Solution</a:t>
            </a:r>
          </a:p>
        </p:txBody>
      </p:sp>
      <p:sp>
        <p:nvSpPr>
          <p:cNvPr id="4" name="TextBox 3">
            <a:extLst>
              <a:ext uri="{FF2B5EF4-FFF2-40B4-BE49-F238E27FC236}">
                <a16:creationId xmlns:a16="http://schemas.microsoft.com/office/drawing/2014/main" id="{18EEA641-C9B3-4111-90D6-F56DD508FB45}"/>
              </a:ext>
            </a:extLst>
          </p:cNvPr>
          <p:cNvSpPr txBox="1"/>
          <p:nvPr/>
        </p:nvSpPr>
        <p:spPr>
          <a:xfrm>
            <a:off x="417513" y="5753797"/>
            <a:ext cx="9074467" cy="545556"/>
          </a:xfrm>
          <a:prstGeom prst="rect">
            <a:avLst/>
          </a:prstGeom>
          <a:solidFill>
            <a:srgbClr val="E614D7"/>
          </a:solidFill>
        </p:spPr>
        <p:txBody>
          <a:bodyPr wrap="square" lIns="182880" tIns="182880" rIns="182880" bIns="182880" rtlCol="0">
            <a:noAutofit/>
          </a:bodyPr>
          <a:lstStyle/>
          <a:p>
            <a:r>
              <a:rPr lang="en-IN" sz="1050" b="1" dirty="0">
                <a:solidFill>
                  <a:schemeClr val="bg1"/>
                </a:solidFill>
                <a:latin typeface="Poppins Medium" panose="02000000000000000000" pitchFamily="2" charset="0"/>
                <a:cs typeface="Poppins Medium" panose="02000000000000000000" pitchFamily="2" charset="0"/>
              </a:rPr>
              <a:t>Business opportunities are like buses, there’s always another one coming</a:t>
            </a:r>
          </a:p>
          <a:p>
            <a:endParaRPr lang="en-IN" dirty="0"/>
          </a:p>
        </p:txBody>
      </p:sp>
    </p:spTree>
    <p:extLst>
      <p:ext uri="{BB962C8B-B14F-4D97-AF65-F5344CB8AC3E}">
        <p14:creationId xmlns:p14="http://schemas.microsoft.com/office/powerpoint/2010/main" val="9725927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037347-E7AE-47ED-A2D8-61EF5CE0D88F}"/>
              </a:ext>
            </a:extLst>
          </p:cNvPr>
          <p:cNvPicPr>
            <a:picLocks noChangeAspect="1"/>
          </p:cNvPicPr>
          <p:nvPr/>
        </p:nvPicPr>
        <p:blipFill>
          <a:blip r:embed="rId2"/>
          <a:stretch>
            <a:fillRect/>
          </a:stretch>
        </p:blipFill>
        <p:spPr>
          <a:xfrm>
            <a:off x="1" y="-1"/>
            <a:ext cx="9906000" cy="6813835"/>
          </a:xfrm>
          <a:prstGeom prst="rect">
            <a:avLst/>
          </a:prstGeom>
        </p:spPr>
      </p:pic>
      <p:sp>
        <p:nvSpPr>
          <p:cNvPr id="5" name="Rectangle 4">
            <a:extLst>
              <a:ext uri="{FF2B5EF4-FFF2-40B4-BE49-F238E27FC236}">
                <a16:creationId xmlns:a16="http://schemas.microsoft.com/office/drawing/2014/main" id="{E18F1D7E-65B7-48BD-8261-C20CB285108A}"/>
              </a:ext>
            </a:extLst>
          </p:cNvPr>
          <p:cNvSpPr/>
          <p:nvPr/>
        </p:nvSpPr>
        <p:spPr bwMode="auto">
          <a:xfrm>
            <a:off x="1" y="0"/>
            <a:ext cx="9906000" cy="6813836"/>
          </a:xfrm>
          <a:prstGeom prst="rect">
            <a:avLst/>
          </a:prstGeom>
          <a:gradFill>
            <a:gsLst>
              <a:gs pos="0">
                <a:schemeClr val="bg1">
                  <a:alpha val="64000"/>
                </a:schemeClr>
              </a:gs>
              <a:gs pos="100000">
                <a:schemeClr val="accent6">
                  <a:lumMod val="10000"/>
                </a:schemeClr>
              </a:gs>
            </a:gsLst>
            <a:lin ang="5400000" scaled="1"/>
          </a:gra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7" name="Rectangle 6">
            <a:extLst>
              <a:ext uri="{FF2B5EF4-FFF2-40B4-BE49-F238E27FC236}">
                <a16:creationId xmlns:a16="http://schemas.microsoft.com/office/drawing/2014/main" id="{C5F53830-AB9B-4D42-91E0-AFD2ED4C7D90}"/>
              </a:ext>
            </a:extLst>
          </p:cNvPr>
          <p:cNvSpPr/>
          <p:nvPr/>
        </p:nvSpPr>
        <p:spPr bwMode="auto">
          <a:xfrm>
            <a:off x="5060384" y="1197387"/>
            <a:ext cx="4431692" cy="5091114"/>
          </a:xfrm>
          <a:prstGeom prst="rect">
            <a:avLst/>
          </a:prstGeom>
          <a:solidFill>
            <a:srgbClr val="03556D">
              <a:alpha val="50000"/>
            </a:srgbClr>
          </a:solidFill>
          <a:ln w="25400">
            <a:noFill/>
            <a:round/>
            <a:headEnd/>
            <a:tailEnd/>
          </a:ln>
        </p:spPr>
        <p:txBody>
          <a:bodyPr wrap="square" lIns="182880" tIns="182880" rIns="182880" bIns="182880" rtlCol="0" anchor="t" anchorCtr="0">
            <a:noAutofit/>
          </a:bodyPr>
          <a:lstStyle/>
          <a:p>
            <a:pPr algn="l"/>
            <a:endParaRPr lang="en-IN" dirty="0">
              <a:solidFill>
                <a:schemeClr val="tx2"/>
              </a:solidFill>
              <a:latin typeface="+mn-lt"/>
            </a:endParaRPr>
          </a:p>
        </p:txBody>
      </p:sp>
      <p:sp>
        <p:nvSpPr>
          <p:cNvPr id="8" name="Rectangle 7">
            <a:extLst>
              <a:ext uri="{FF2B5EF4-FFF2-40B4-BE49-F238E27FC236}">
                <a16:creationId xmlns:a16="http://schemas.microsoft.com/office/drawing/2014/main" id="{34A86C06-AE03-466D-A3AB-1C5416069BEC}"/>
              </a:ext>
            </a:extLst>
          </p:cNvPr>
          <p:cNvSpPr/>
          <p:nvPr/>
        </p:nvSpPr>
        <p:spPr bwMode="auto">
          <a:xfrm>
            <a:off x="415512" y="1197389"/>
            <a:ext cx="4431692" cy="5091112"/>
          </a:xfrm>
          <a:prstGeom prst="rect">
            <a:avLst/>
          </a:prstGeom>
          <a:solidFill>
            <a:srgbClr val="03556D">
              <a:alpha val="49804"/>
            </a:srgbClr>
          </a:solidFill>
          <a:ln w="25400">
            <a:noFill/>
            <a:round/>
            <a:headEnd/>
            <a:tailEnd/>
          </a:ln>
        </p:spPr>
        <p:txBody>
          <a:bodyPr wrap="square" lIns="0" tIns="0" rIns="0" bIns="0" rtlCol="0" anchor="ctr">
            <a:noAutofit/>
          </a:bodyPr>
          <a:lstStyle/>
          <a:p>
            <a:pPr algn="l"/>
            <a:endParaRPr lang="en-IN" dirty="0">
              <a:solidFill>
                <a:schemeClr val="tx2"/>
              </a:solidFill>
            </a:endParaRPr>
          </a:p>
        </p:txBody>
      </p:sp>
      <p:graphicFrame>
        <p:nvGraphicFramePr>
          <p:cNvPr id="9" name="Chart 8">
            <a:extLst>
              <a:ext uri="{FF2B5EF4-FFF2-40B4-BE49-F238E27FC236}">
                <a16:creationId xmlns:a16="http://schemas.microsoft.com/office/drawing/2014/main" id="{909AF574-E2A3-4BC6-BC64-1200BA20D1CD}"/>
              </a:ext>
            </a:extLst>
          </p:cNvPr>
          <p:cNvGraphicFramePr/>
          <p:nvPr>
            <p:extLst>
              <p:ext uri="{D42A27DB-BD31-4B8C-83A1-F6EECF244321}">
                <p14:modId xmlns:p14="http://schemas.microsoft.com/office/powerpoint/2010/main" val="822953100"/>
              </p:ext>
            </p:extLst>
          </p:nvPr>
        </p:nvGraphicFramePr>
        <p:xfrm>
          <a:off x="-55390" y="569499"/>
          <a:ext cx="4937196" cy="5581694"/>
        </p:xfrm>
        <a:graphic>
          <a:graphicData uri="http://schemas.openxmlformats.org/drawingml/2006/chart">
            <c:chart xmlns:c="http://schemas.openxmlformats.org/drawingml/2006/chart" xmlns:r="http://schemas.openxmlformats.org/officeDocument/2006/relationships" r:id="rId3"/>
          </a:graphicData>
        </a:graphic>
      </p:graphicFrame>
      <p:sp>
        <p:nvSpPr>
          <p:cNvPr id="11" name="Oval 10">
            <a:extLst>
              <a:ext uri="{FF2B5EF4-FFF2-40B4-BE49-F238E27FC236}">
                <a16:creationId xmlns:a16="http://schemas.microsoft.com/office/drawing/2014/main" id="{AAA1A488-CAB6-4A24-87C7-CF0A1E848C82}"/>
              </a:ext>
            </a:extLst>
          </p:cNvPr>
          <p:cNvSpPr/>
          <p:nvPr/>
        </p:nvSpPr>
        <p:spPr bwMode="auto">
          <a:xfrm>
            <a:off x="5300331" y="1998144"/>
            <a:ext cx="822960" cy="822960"/>
          </a:xfrm>
          <a:prstGeom prst="ellipse">
            <a:avLst/>
          </a:prstGeom>
          <a:solidFill>
            <a:schemeClr val="accent6"/>
          </a:solidFill>
          <a:ln w="12700">
            <a:noFill/>
            <a:round/>
            <a:headEnd/>
            <a:tailEnd/>
          </a:ln>
        </p:spPr>
        <p:txBody>
          <a:bodyPr wrap="square" lIns="0" tIns="0" rIns="0" bIns="0" rtlCol="0" anchor="ctr">
            <a:noAutofit/>
          </a:bodyPr>
          <a:lstStyle/>
          <a:p>
            <a:pPr algn="l"/>
            <a:endParaRPr lang="de-DE" dirty="0">
              <a:solidFill>
                <a:schemeClr val="tx2"/>
              </a:solidFill>
            </a:endParaRPr>
          </a:p>
        </p:txBody>
      </p:sp>
      <p:sp>
        <p:nvSpPr>
          <p:cNvPr id="15" name="TextBox 14">
            <a:extLst>
              <a:ext uri="{FF2B5EF4-FFF2-40B4-BE49-F238E27FC236}">
                <a16:creationId xmlns:a16="http://schemas.microsoft.com/office/drawing/2014/main" id="{7643985B-3E54-4B16-B6D6-E0DC48D331BB}"/>
              </a:ext>
            </a:extLst>
          </p:cNvPr>
          <p:cNvSpPr txBox="1"/>
          <p:nvPr/>
        </p:nvSpPr>
        <p:spPr>
          <a:xfrm>
            <a:off x="5851713" y="2162461"/>
            <a:ext cx="3404411" cy="519543"/>
          </a:xfrm>
          <a:prstGeom prst="rect">
            <a:avLst/>
          </a:prstGeom>
          <a:noFill/>
        </p:spPr>
        <p:txBody>
          <a:bodyPr wrap="square" lIns="182880" tIns="182880" rIns="182880" bIns="182880" rtlCol="0" anchor="t" anchorCtr="0">
            <a:noAutofit/>
          </a:bodyPr>
          <a:lstStyle/>
          <a:p>
            <a:r>
              <a:rPr lang="en-IN" sz="1100" dirty="0">
                <a:solidFill>
                  <a:schemeClr val="bg1"/>
                </a:solidFill>
                <a:latin typeface="+mn-lt"/>
              </a:rPr>
              <a:t>Overall business performance</a:t>
            </a:r>
          </a:p>
        </p:txBody>
      </p:sp>
      <p:sp>
        <p:nvSpPr>
          <p:cNvPr id="17" name="TextBox 16">
            <a:extLst>
              <a:ext uri="{FF2B5EF4-FFF2-40B4-BE49-F238E27FC236}">
                <a16:creationId xmlns:a16="http://schemas.microsoft.com/office/drawing/2014/main" id="{E62A9274-A565-4C7E-A33D-07DE28C6703E}"/>
              </a:ext>
            </a:extLst>
          </p:cNvPr>
          <p:cNvSpPr txBox="1"/>
          <p:nvPr/>
        </p:nvSpPr>
        <p:spPr>
          <a:xfrm>
            <a:off x="6229933" y="3258715"/>
            <a:ext cx="2513401" cy="738664"/>
          </a:xfrm>
          <a:prstGeom prst="rect">
            <a:avLst/>
          </a:prstGeom>
          <a:noFill/>
        </p:spPr>
        <p:txBody>
          <a:bodyPr wrap="square" lIns="182880" tIns="182880" rIns="182880" bIns="182880" rtlCol="0" anchor="t" anchorCtr="0">
            <a:noAutofit/>
          </a:bodyPr>
          <a:lstStyle/>
          <a:p>
            <a:r>
              <a:rPr lang="en-IN" sz="1100" dirty="0">
                <a:solidFill>
                  <a:schemeClr val="bg1"/>
                </a:solidFill>
                <a:latin typeface="+mn-lt"/>
              </a:rPr>
              <a:t>Daily task management and productivity</a:t>
            </a:r>
          </a:p>
          <a:p>
            <a:endParaRPr lang="en-IN" sz="1100" dirty="0"/>
          </a:p>
        </p:txBody>
      </p:sp>
      <p:sp>
        <p:nvSpPr>
          <p:cNvPr id="2" name="TextBox 1">
            <a:extLst>
              <a:ext uri="{FF2B5EF4-FFF2-40B4-BE49-F238E27FC236}">
                <a16:creationId xmlns:a16="http://schemas.microsoft.com/office/drawing/2014/main" id="{9CB149A3-D3B2-47A3-859D-40E5BA96EEBD}"/>
              </a:ext>
            </a:extLst>
          </p:cNvPr>
          <p:cNvSpPr txBox="1"/>
          <p:nvPr/>
        </p:nvSpPr>
        <p:spPr>
          <a:xfrm>
            <a:off x="6093588" y="4286862"/>
            <a:ext cx="3093396" cy="553998"/>
          </a:xfrm>
          <a:prstGeom prst="rect">
            <a:avLst/>
          </a:prstGeom>
          <a:noFill/>
        </p:spPr>
        <p:txBody>
          <a:bodyPr wrap="square" lIns="182880" tIns="182880" rIns="182880" bIns="182880" rtlCol="0" anchor="t" anchorCtr="0">
            <a:noAutofit/>
          </a:bodyPr>
          <a:lstStyle/>
          <a:p>
            <a:r>
              <a:rPr lang="en-IN" sz="1100" dirty="0">
                <a:solidFill>
                  <a:schemeClr val="bg1"/>
                </a:solidFill>
                <a:latin typeface="+mn-lt"/>
              </a:rPr>
              <a:t>Company image and reputation</a:t>
            </a:r>
          </a:p>
          <a:p>
            <a:endParaRPr lang="en-IN" sz="1100" dirty="0"/>
          </a:p>
        </p:txBody>
      </p:sp>
      <p:sp>
        <p:nvSpPr>
          <p:cNvPr id="3" name="TextBox 2">
            <a:extLst>
              <a:ext uri="{FF2B5EF4-FFF2-40B4-BE49-F238E27FC236}">
                <a16:creationId xmlns:a16="http://schemas.microsoft.com/office/drawing/2014/main" id="{6770A1A1-47B2-4C96-A30F-697C12318588}"/>
              </a:ext>
            </a:extLst>
          </p:cNvPr>
          <p:cNvSpPr txBox="1"/>
          <p:nvPr/>
        </p:nvSpPr>
        <p:spPr>
          <a:xfrm>
            <a:off x="6261880" y="5385615"/>
            <a:ext cx="2305456" cy="553998"/>
          </a:xfrm>
          <a:prstGeom prst="rect">
            <a:avLst/>
          </a:prstGeom>
          <a:noFill/>
        </p:spPr>
        <p:txBody>
          <a:bodyPr wrap="square" lIns="182880" tIns="182880" rIns="182880" bIns="182880" rtlCol="0" anchor="t" anchorCtr="0">
            <a:noAutofit/>
          </a:bodyPr>
          <a:lstStyle/>
          <a:p>
            <a:r>
              <a:rPr lang="en-IN" sz="1100" dirty="0">
                <a:solidFill>
                  <a:schemeClr val="bg1"/>
                </a:solidFill>
                <a:latin typeface="+mn-lt"/>
              </a:rPr>
              <a:t>Team dynamics</a:t>
            </a:r>
          </a:p>
          <a:p>
            <a:endParaRPr lang="en-IN" sz="1100" dirty="0"/>
          </a:p>
        </p:txBody>
      </p:sp>
      <p:sp>
        <p:nvSpPr>
          <p:cNvPr id="16" name="Oval 15">
            <a:extLst>
              <a:ext uri="{FF2B5EF4-FFF2-40B4-BE49-F238E27FC236}">
                <a16:creationId xmlns:a16="http://schemas.microsoft.com/office/drawing/2014/main" id="{B8BCD39F-48B5-4C69-835E-59B2285DD6C8}"/>
              </a:ext>
            </a:extLst>
          </p:cNvPr>
          <p:cNvSpPr/>
          <p:nvPr/>
        </p:nvSpPr>
        <p:spPr bwMode="auto">
          <a:xfrm>
            <a:off x="5300331" y="3077571"/>
            <a:ext cx="822960" cy="822960"/>
          </a:xfrm>
          <a:prstGeom prst="ellipse">
            <a:avLst/>
          </a:prstGeom>
          <a:solidFill>
            <a:schemeClr val="accent6"/>
          </a:solidFill>
          <a:ln w="12700">
            <a:noFill/>
            <a:round/>
            <a:headEnd/>
            <a:tailEnd/>
          </a:ln>
        </p:spPr>
        <p:txBody>
          <a:bodyPr wrap="square" lIns="0" tIns="0" rIns="0" bIns="0" rtlCol="0" anchor="ctr">
            <a:noAutofit/>
          </a:bodyPr>
          <a:lstStyle/>
          <a:p>
            <a:pPr algn="l"/>
            <a:endParaRPr lang="de-DE" dirty="0">
              <a:solidFill>
                <a:schemeClr val="tx2"/>
              </a:solidFill>
            </a:endParaRPr>
          </a:p>
        </p:txBody>
      </p:sp>
      <p:sp>
        <p:nvSpPr>
          <p:cNvPr id="18" name="Oval 17">
            <a:extLst>
              <a:ext uri="{FF2B5EF4-FFF2-40B4-BE49-F238E27FC236}">
                <a16:creationId xmlns:a16="http://schemas.microsoft.com/office/drawing/2014/main" id="{20DB0C0F-5806-4255-BE4F-84DE347222C2}"/>
              </a:ext>
            </a:extLst>
          </p:cNvPr>
          <p:cNvSpPr/>
          <p:nvPr/>
        </p:nvSpPr>
        <p:spPr bwMode="auto">
          <a:xfrm>
            <a:off x="5300331" y="4168469"/>
            <a:ext cx="822960" cy="822960"/>
          </a:xfrm>
          <a:prstGeom prst="ellipse">
            <a:avLst/>
          </a:prstGeom>
          <a:solidFill>
            <a:schemeClr val="accent6"/>
          </a:solidFill>
          <a:ln w="12700">
            <a:noFill/>
            <a:round/>
            <a:headEnd/>
            <a:tailEnd/>
          </a:ln>
        </p:spPr>
        <p:txBody>
          <a:bodyPr wrap="square" lIns="0" tIns="0" rIns="0" bIns="0" rtlCol="0" anchor="ctr">
            <a:noAutofit/>
          </a:bodyPr>
          <a:lstStyle/>
          <a:p>
            <a:pPr algn="l"/>
            <a:endParaRPr lang="de-DE" dirty="0">
              <a:solidFill>
                <a:schemeClr val="tx2"/>
              </a:solidFill>
            </a:endParaRPr>
          </a:p>
        </p:txBody>
      </p:sp>
      <p:sp>
        <p:nvSpPr>
          <p:cNvPr id="19" name="Oval 18">
            <a:extLst>
              <a:ext uri="{FF2B5EF4-FFF2-40B4-BE49-F238E27FC236}">
                <a16:creationId xmlns:a16="http://schemas.microsoft.com/office/drawing/2014/main" id="{63352C18-72CE-4C8B-A61B-C56D9FA2F85B}"/>
              </a:ext>
            </a:extLst>
          </p:cNvPr>
          <p:cNvSpPr/>
          <p:nvPr/>
        </p:nvSpPr>
        <p:spPr bwMode="auto">
          <a:xfrm>
            <a:off x="5300331" y="5236426"/>
            <a:ext cx="822960" cy="822960"/>
          </a:xfrm>
          <a:prstGeom prst="ellipse">
            <a:avLst/>
          </a:prstGeom>
          <a:solidFill>
            <a:schemeClr val="accent6"/>
          </a:solidFill>
          <a:ln w="12700">
            <a:noFill/>
            <a:round/>
            <a:headEnd/>
            <a:tailEnd/>
          </a:ln>
        </p:spPr>
        <p:txBody>
          <a:bodyPr wrap="square" lIns="0" tIns="0" rIns="0" bIns="0" rtlCol="0" anchor="ctr">
            <a:noAutofit/>
          </a:bodyPr>
          <a:lstStyle/>
          <a:p>
            <a:pPr algn="l"/>
            <a:endParaRPr lang="de-DE" dirty="0">
              <a:solidFill>
                <a:schemeClr val="tx2"/>
              </a:solidFill>
            </a:endParaRPr>
          </a:p>
        </p:txBody>
      </p:sp>
      <p:sp>
        <p:nvSpPr>
          <p:cNvPr id="20" name="Rectangle 19">
            <a:extLst>
              <a:ext uri="{FF2B5EF4-FFF2-40B4-BE49-F238E27FC236}">
                <a16:creationId xmlns:a16="http://schemas.microsoft.com/office/drawing/2014/main" id="{280D9AC9-BB65-46A3-908E-FBCE6CA8F52F}"/>
              </a:ext>
            </a:extLst>
          </p:cNvPr>
          <p:cNvSpPr/>
          <p:nvPr/>
        </p:nvSpPr>
        <p:spPr bwMode="auto">
          <a:xfrm>
            <a:off x="425829" y="1204798"/>
            <a:ext cx="4414157" cy="422618"/>
          </a:xfrm>
          <a:prstGeom prst="rect">
            <a:avLst/>
          </a:prstGeom>
          <a:solidFill>
            <a:srgbClr val="05405E"/>
          </a:solidFill>
          <a:ln w="19050">
            <a:solidFill>
              <a:schemeClr val="bg1"/>
            </a:solidFill>
            <a:round/>
            <a:headEnd/>
            <a:tailEnd/>
          </a:ln>
        </p:spPr>
        <p:txBody>
          <a:bodyPr wrap="none" lIns="182880" tIns="182880" rIns="182880" bIns="182880" rtlCol="0" anchor="t" anchorCtr="0">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21" name="Rectangle 20">
            <a:extLst>
              <a:ext uri="{FF2B5EF4-FFF2-40B4-BE49-F238E27FC236}">
                <a16:creationId xmlns:a16="http://schemas.microsoft.com/office/drawing/2014/main" id="{4A323D90-E7DB-4396-A117-5C15DCA38E7E}"/>
              </a:ext>
            </a:extLst>
          </p:cNvPr>
          <p:cNvSpPr/>
          <p:nvPr/>
        </p:nvSpPr>
        <p:spPr bwMode="auto">
          <a:xfrm>
            <a:off x="5069957" y="1206727"/>
            <a:ext cx="4412162" cy="422618"/>
          </a:xfrm>
          <a:prstGeom prst="rect">
            <a:avLst/>
          </a:prstGeom>
          <a:solidFill>
            <a:srgbClr val="05405E"/>
          </a:solidFill>
          <a:ln w="19050">
            <a:solidFill>
              <a:schemeClr val="bg1"/>
            </a:solidFill>
            <a:round/>
            <a:headEnd/>
            <a:tailEnd/>
          </a:ln>
        </p:spPr>
        <p:txBody>
          <a:bodyPr wrap="none" lIns="182880" tIns="182880" rIns="182880" bIns="182880" rtlCol="0" anchor="t" anchorCtr="0">
            <a:noAutofit/>
          </a:bodyPr>
          <a:lstStyle/>
          <a:p>
            <a:endParaRPr lang="en-US" b="1" dirty="0">
              <a:solidFill>
                <a:schemeClr val="bg1"/>
              </a:solidFill>
              <a:latin typeface="Poppins Medium" panose="00000600000000000000" pitchFamily="2" charset="0"/>
              <a:cs typeface="Poppins Medium" panose="00000600000000000000" pitchFamily="2" charset="0"/>
            </a:endParaRPr>
          </a:p>
        </p:txBody>
      </p:sp>
      <p:sp>
        <p:nvSpPr>
          <p:cNvPr id="14" name="TextBox 13">
            <a:extLst>
              <a:ext uri="{FF2B5EF4-FFF2-40B4-BE49-F238E27FC236}">
                <a16:creationId xmlns:a16="http://schemas.microsoft.com/office/drawing/2014/main" id="{765C414E-A551-4334-A793-AD287FED331F}"/>
              </a:ext>
            </a:extLst>
          </p:cNvPr>
          <p:cNvSpPr txBox="1"/>
          <p:nvPr/>
        </p:nvSpPr>
        <p:spPr>
          <a:xfrm>
            <a:off x="6123291" y="1138544"/>
            <a:ext cx="2303835" cy="575076"/>
          </a:xfrm>
          <a:prstGeom prst="rect">
            <a:avLst/>
          </a:prstGeom>
          <a:noFill/>
        </p:spPr>
        <p:txBody>
          <a:bodyPr wrap="square" lIns="182880" tIns="182880" rIns="182880" bIns="182880" rtlCol="0" anchor="t" anchorCtr="0">
            <a:noAutofit/>
          </a:bodyPr>
          <a:lstStyle/>
          <a:p>
            <a:r>
              <a:rPr lang="en-IN" b="1" dirty="0">
                <a:solidFill>
                  <a:schemeClr val="bg1"/>
                </a:solidFill>
                <a:latin typeface="+mn-lt"/>
              </a:rPr>
              <a:t>High Attrition affects</a:t>
            </a:r>
          </a:p>
        </p:txBody>
      </p:sp>
      <p:sp>
        <p:nvSpPr>
          <p:cNvPr id="23" name="TextBox 22">
            <a:extLst>
              <a:ext uri="{FF2B5EF4-FFF2-40B4-BE49-F238E27FC236}">
                <a16:creationId xmlns:a16="http://schemas.microsoft.com/office/drawing/2014/main" id="{CDA5BA22-95B8-46AE-BF4F-17A801E3B9EC}"/>
              </a:ext>
            </a:extLst>
          </p:cNvPr>
          <p:cNvSpPr txBox="1"/>
          <p:nvPr/>
        </p:nvSpPr>
        <p:spPr>
          <a:xfrm>
            <a:off x="1307441" y="1135456"/>
            <a:ext cx="2651836" cy="553998"/>
          </a:xfrm>
          <a:prstGeom prst="rect">
            <a:avLst/>
          </a:prstGeom>
          <a:noFill/>
        </p:spPr>
        <p:txBody>
          <a:bodyPr wrap="square" lIns="182880" tIns="182880" rIns="182880" bIns="182880" rtlCol="0" anchor="t" anchorCtr="0">
            <a:noAutofit/>
          </a:bodyPr>
          <a:lstStyle/>
          <a:p>
            <a:r>
              <a:rPr lang="en-US" b="1" dirty="0">
                <a:solidFill>
                  <a:schemeClr val="bg1"/>
                </a:solidFill>
                <a:latin typeface="Poppins Medium" panose="00000600000000000000" pitchFamily="2" charset="0"/>
                <a:cs typeface="Poppins Medium" panose="00000600000000000000" pitchFamily="2" charset="0"/>
              </a:rPr>
              <a:t>Reasons for leaving</a:t>
            </a:r>
          </a:p>
          <a:p>
            <a:endParaRPr lang="en-IN" dirty="0"/>
          </a:p>
        </p:txBody>
      </p:sp>
      <p:sp>
        <p:nvSpPr>
          <p:cNvPr id="27" name="Freeform: Shape 26">
            <a:extLst>
              <a:ext uri="{FF2B5EF4-FFF2-40B4-BE49-F238E27FC236}">
                <a16:creationId xmlns:a16="http://schemas.microsoft.com/office/drawing/2014/main" id="{168FD9FF-B85B-4255-9071-0A53A1D3812B}"/>
              </a:ext>
            </a:extLst>
          </p:cNvPr>
          <p:cNvSpPr/>
          <p:nvPr/>
        </p:nvSpPr>
        <p:spPr>
          <a:xfrm>
            <a:off x="5483211" y="2181024"/>
            <a:ext cx="457200" cy="457200"/>
          </a:xfrm>
          <a:custGeom>
            <a:avLst/>
            <a:gdLst>
              <a:gd name="connsiteX0" fmla="*/ 94694 w 1967615"/>
              <a:gd name="connsiteY0" fmla="*/ 1671652 h 1675246"/>
              <a:gd name="connsiteX1" fmla="*/ 34507 w 1967615"/>
              <a:gd name="connsiteY1" fmla="*/ 1641095 h 1675246"/>
              <a:gd name="connsiteX2" fmla="*/ -61 w 1967615"/>
              <a:gd name="connsiteY2" fmla="*/ 1481145 h 1675246"/>
              <a:gd name="connsiteX3" fmla="*/ -61 w 1967615"/>
              <a:gd name="connsiteY3" fmla="*/ 1369724 h 1675246"/>
              <a:gd name="connsiteX4" fmla="*/ 10868 w 1967615"/>
              <a:gd name="connsiteY4" fmla="*/ 1351217 h 1675246"/>
              <a:gd name="connsiteX5" fmla="*/ 74289 w 1967615"/>
              <a:gd name="connsiteY5" fmla="*/ 1299131 h 1675246"/>
              <a:gd name="connsiteX6" fmla="*/ 195843 w 1967615"/>
              <a:gd name="connsiteY6" fmla="*/ 1290054 h 1675246"/>
              <a:gd name="connsiteX7" fmla="*/ 321482 w 1967615"/>
              <a:gd name="connsiteY7" fmla="*/ 1296195 h 1675246"/>
              <a:gd name="connsiteX8" fmla="*/ 369036 w 1967615"/>
              <a:gd name="connsiteY8" fmla="*/ 1321943 h 1675246"/>
              <a:gd name="connsiteX9" fmla="*/ 408918 w 1967615"/>
              <a:gd name="connsiteY9" fmla="*/ 1473680 h 1675246"/>
              <a:gd name="connsiteX10" fmla="*/ 387811 w 1967615"/>
              <a:gd name="connsiteY10" fmla="*/ 1626222 h 1675246"/>
              <a:gd name="connsiteX11" fmla="*/ 327674 w 1967615"/>
              <a:gd name="connsiteY11" fmla="*/ 1667591 h 1675246"/>
              <a:gd name="connsiteX12" fmla="*/ 210056 w 1967615"/>
              <a:gd name="connsiteY12" fmla="*/ 1675197 h 1675246"/>
              <a:gd name="connsiteX13" fmla="*/ 94694 w 1967615"/>
              <a:gd name="connsiteY13" fmla="*/ 1671652 h 1675246"/>
              <a:gd name="connsiteX14" fmla="*/ 311154 w 1967615"/>
              <a:gd name="connsiteY14" fmla="*/ 1618122 h 1675246"/>
              <a:gd name="connsiteX15" fmla="*/ 334994 w 1967615"/>
              <a:gd name="connsiteY15" fmla="*/ 1597785 h 1675246"/>
              <a:gd name="connsiteX16" fmla="*/ 343090 w 1967615"/>
              <a:gd name="connsiteY16" fmla="*/ 1478829 h 1675246"/>
              <a:gd name="connsiteX17" fmla="*/ 332011 w 1967615"/>
              <a:gd name="connsiteY17" fmla="*/ 1361971 h 1675246"/>
              <a:gd name="connsiteX18" fmla="*/ 203890 w 1967615"/>
              <a:gd name="connsiteY18" fmla="*/ 1338735 h 1675246"/>
              <a:gd name="connsiteX19" fmla="*/ 102942 w 1967615"/>
              <a:gd name="connsiteY19" fmla="*/ 1344757 h 1675246"/>
              <a:gd name="connsiteX20" fmla="*/ 59876 w 1967615"/>
              <a:gd name="connsiteY20" fmla="*/ 1481145 h 1675246"/>
              <a:gd name="connsiteX21" fmla="*/ 79503 w 1967615"/>
              <a:gd name="connsiteY21" fmla="*/ 1607622 h 1675246"/>
              <a:gd name="connsiteX22" fmla="*/ 210056 w 1967615"/>
              <a:gd name="connsiteY22" fmla="*/ 1626129 h 1675246"/>
              <a:gd name="connsiteX23" fmla="*/ 311154 w 1967615"/>
              <a:gd name="connsiteY23" fmla="*/ 1618122 h 1675246"/>
              <a:gd name="connsiteX24" fmla="*/ 613797 w 1967615"/>
              <a:gd name="connsiteY24" fmla="*/ 1671652 h 1675246"/>
              <a:gd name="connsiteX25" fmla="*/ 584743 w 1967615"/>
              <a:gd name="connsiteY25" fmla="*/ 1662184 h 1675246"/>
              <a:gd name="connsiteX26" fmla="*/ 527940 w 1967615"/>
              <a:gd name="connsiteY26" fmla="*/ 1611164 h 1675246"/>
              <a:gd name="connsiteX27" fmla="*/ 519041 w 1967615"/>
              <a:gd name="connsiteY27" fmla="*/ 1384471 h 1675246"/>
              <a:gd name="connsiteX28" fmla="*/ 527940 w 1967615"/>
              <a:gd name="connsiteY28" fmla="*/ 1157779 h 1675246"/>
              <a:gd name="connsiteX29" fmla="*/ 594670 w 1967615"/>
              <a:gd name="connsiteY29" fmla="*/ 1103532 h 1675246"/>
              <a:gd name="connsiteX30" fmla="*/ 617933 w 1967615"/>
              <a:gd name="connsiteY30" fmla="*/ 1094453 h 1675246"/>
              <a:gd name="connsiteX31" fmla="*/ 722967 w 1967615"/>
              <a:gd name="connsiteY31" fmla="*/ 1094453 h 1675246"/>
              <a:gd name="connsiteX32" fmla="*/ 828025 w 1967615"/>
              <a:gd name="connsiteY32" fmla="*/ 1094453 h 1675246"/>
              <a:gd name="connsiteX33" fmla="*/ 851514 w 1967615"/>
              <a:gd name="connsiteY33" fmla="*/ 1103628 h 1675246"/>
              <a:gd name="connsiteX34" fmla="*/ 919272 w 1967615"/>
              <a:gd name="connsiteY34" fmla="*/ 1160832 h 1675246"/>
              <a:gd name="connsiteX35" fmla="*/ 928020 w 1967615"/>
              <a:gd name="connsiteY35" fmla="*/ 1377753 h 1675246"/>
              <a:gd name="connsiteX36" fmla="*/ 920901 w 1967615"/>
              <a:gd name="connsiteY36" fmla="*/ 1601034 h 1675246"/>
              <a:gd name="connsiteX37" fmla="*/ 851539 w 1967615"/>
              <a:gd name="connsiteY37" fmla="*/ 1665312 h 1675246"/>
              <a:gd name="connsiteX38" fmla="*/ 828025 w 1967615"/>
              <a:gd name="connsiteY38" fmla="*/ 1674490 h 1675246"/>
              <a:gd name="connsiteX39" fmla="*/ 729158 w 1967615"/>
              <a:gd name="connsiteY39" fmla="*/ 1675197 h 1675246"/>
              <a:gd name="connsiteX40" fmla="*/ 613797 w 1967615"/>
              <a:gd name="connsiteY40" fmla="*/ 1671652 h 1675246"/>
              <a:gd name="connsiteX41" fmla="*/ 832864 w 1967615"/>
              <a:gd name="connsiteY41" fmla="*/ 1616616 h 1675246"/>
              <a:gd name="connsiteX42" fmla="*/ 866304 w 1967615"/>
              <a:gd name="connsiteY42" fmla="*/ 1394619 h 1675246"/>
              <a:gd name="connsiteX43" fmla="*/ 863020 w 1967615"/>
              <a:gd name="connsiteY43" fmla="*/ 1189379 h 1675246"/>
              <a:gd name="connsiteX44" fmla="*/ 807971 w 1967615"/>
              <a:gd name="connsiteY44" fmla="*/ 1145087 h 1675246"/>
              <a:gd name="connsiteX45" fmla="*/ 710608 w 1967615"/>
              <a:gd name="connsiteY45" fmla="*/ 1142485 h 1675246"/>
              <a:gd name="connsiteX46" fmla="*/ 591813 w 1967615"/>
              <a:gd name="connsiteY46" fmla="*/ 1169275 h 1675246"/>
              <a:gd name="connsiteX47" fmla="*/ 580833 w 1967615"/>
              <a:gd name="connsiteY47" fmla="*/ 1182448 h 1675246"/>
              <a:gd name="connsiteX48" fmla="*/ 579680 w 1967615"/>
              <a:gd name="connsiteY48" fmla="*/ 1376954 h 1675246"/>
              <a:gd name="connsiteX49" fmla="*/ 582938 w 1967615"/>
              <a:gd name="connsiteY49" fmla="*/ 1584494 h 1675246"/>
              <a:gd name="connsiteX50" fmla="*/ 629289 w 1967615"/>
              <a:gd name="connsiteY50" fmla="*/ 1623429 h 1675246"/>
              <a:gd name="connsiteX51" fmla="*/ 729459 w 1967615"/>
              <a:gd name="connsiteY51" fmla="*/ 1625974 h 1675246"/>
              <a:gd name="connsiteX52" fmla="*/ 832864 w 1967615"/>
              <a:gd name="connsiteY52" fmla="*/ 1616616 h 1675246"/>
              <a:gd name="connsiteX53" fmla="*/ 1132172 w 1967615"/>
              <a:gd name="connsiteY53" fmla="*/ 1671517 h 1675246"/>
              <a:gd name="connsiteX54" fmla="*/ 1046942 w 1967615"/>
              <a:gd name="connsiteY54" fmla="*/ 1610988 h 1675246"/>
              <a:gd name="connsiteX55" fmla="*/ 1038143 w 1967615"/>
              <a:gd name="connsiteY55" fmla="*/ 1595842 h 1675246"/>
              <a:gd name="connsiteX56" fmla="*/ 1038143 w 1967615"/>
              <a:gd name="connsiteY56" fmla="*/ 1264858 h 1675246"/>
              <a:gd name="connsiteX57" fmla="*/ 1038143 w 1967615"/>
              <a:gd name="connsiteY57" fmla="*/ 933877 h 1675246"/>
              <a:gd name="connsiteX58" fmla="*/ 1047042 w 1967615"/>
              <a:gd name="connsiteY58" fmla="*/ 918555 h 1675246"/>
              <a:gd name="connsiteX59" fmla="*/ 1113772 w 1967615"/>
              <a:gd name="connsiteY59" fmla="*/ 864306 h 1675246"/>
              <a:gd name="connsiteX60" fmla="*/ 1137010 w 1967615"/>
              <a:gd name="connsiteY60" fmla="*/ 855227 h 1675246"/>
              <a:gd name="connsiteX61" fmla="*/ 1242069 w 1967615"/>
              <a:gd name="connsiteY61" fmla="*/ 855227 h 1675246"/>
              <a:gd name="connsiteX62" fmla="*/ 1347128 w 1967615"/>
              <a:gd name="connsiteY62" fmla="*/ 855227 h 1675246"/>
              <a:gd name="connsiteX63" fmla="*/ 1370366 w 1967615"/>
              <a:gd name="connsiteY63" fmla="*/ 864306 h 1675246"/>
              <a:gd name="connsiteX64" fmla="*/ 1437096 w 1967615"/>
              <a:gd name="connsiteY64" fmla="*/ 918555 h 1675246"/>
              <a:gd name="connsiteX65" fmla="*/ 1446020 w 1967615"/>
              <a:gd name="connsiteY65" fmla="*/ 933877 h 1675246"/>
              <a:gd name="connsiteX66" fmla="*/ 1446020 w 1967615"/>
              <a:gd name="connsiteY66" fmla="*/ 1264858 h 1675246"/>
              <a:gd name="connsiteX67" fmla="*/ 1446020 w 1967615"/>
              <a:gd name="connsiteY67" fmla="*/ 1595842 h 1675246"/>
              <a:gd name="connsiteX68" fmla="*/ 1434589 w 1967615"/>
              <a:gd name="connsiteY68" fmla="*/ 1614330 h 1675246"/>
              <a:gd name="connsiteX69" fmla="*/ 1366405 w 1967615"/>
              <a:gd name="connsiteY69" fmla="*/ 1667408 h 1675246"/>
              <a:gd name="connsiteX70" fmla="*/ 1248261 w 1967615"/>
              <a:gd name="connsiteY70" fmla="*/ 1675197 h 1675246"/>
              <a:gd name="connsiteX71" fmla="*/ 1132172 w 1967615"/>
              <a:gd name="connsiteY71" fmla="*/ 1671517 h 1675246"/>
              <a:gd name="connsiteX72" fmla="*/ 1350011 w 1967615"/>
              <a:gd name="connsiteY72" fmla="*/ 1617797 h 1675246"/>
              <a:gd name="connsiteX73" fmla="*/ 1374727 w 1967615"/>
              <a:gd name="connsiteY73" fmla="*/ 1598133 h 1675246"/>
              <a:gd name="connsiteX74" fmla="*/ 1384203 w 1967615"/>
              <a:gd name="connsiteY74" fmla="*/ 1586011 h 1675246"/>
              <a:gd name="connsiteX75" fmla="*/ 1384203 w 1967615"/>
              <a:gd name="connsiteY75" fmla="*/ 1264858 h 1675246"/>
              <a:gd name="connsiteX76" fmla="*/ 1384203 w 1967615"/>
              <a:gd name="connsiteY76" fmla="*/ 943708 h 1675246"/>
              <a:gd name="connsiteX77" fmla="*/ 1374727 w 1967615"/>
              <a:gd name="connsiteY77" fmla="*/ 931585 h 1675246"/>
              <a:gd name="connsiteX78" fmla="*/ 1350011 w 1967615"/>
              <a:gd name="connsiteY78" fmla="*/ 911922 h 1675246"/>
              <a:gd name="connsiteX79" fmla="*/ 1241768 w 1967615"/>
              <a:gd name="connsiteY79" fmla="*/ 904385 h 1675246"/>
              <a:gd name="connsiteX80" fmla="*/ 1148767 w 1967615"/>
              <a:gd name="connsiteY80" fmla="*/ 904385 h 1675246"/>
              <a:gd name="connsiteX81" fmla="*/ 1132222 w 1967615"/>
              <a:gd name="connsiteY81" fmla="*/ 913103 h 1675246"/>
              <a:gd name="connsiteX82" fmla="*/ 1107806 w 1967615"/>
              <a:gd name="connsiteY82" fmla="*/ 934403 h 1675246"/>
              <a:gd name="connsiteX83" fmla="*/ 1098807 w 1967615"/>
              <a:gd name="connsiteY83" fmla="*/ 1254934 h 1675246"/>
              <a:gd name="connsiteX84" fmla="*/ 1102241 w 1967615"/>
              <a:gd name="connsiteY84" fmla="*/ 1580338 h 1675246"/>
              <a:gd name="connsiteX85" fmla="*/ 1148366 w 1967615"/>
              <a:gd name="connsiteY85" fmla="*/ 1623429 h 1675246"/>
              <a:gd name="connsiteX86" fmla="*/ 1248261 w 1967615"/>
              <a:gd name="connsiteY86" fmla="*/ 1625974 h 1675246"/>
              <a:gd name="connsiteX87" fmla="*/ 1350011 w 1967615"/>
              <a:gd name="connsiteY87" fmla="*/ 1617797 h 1675246"/>
              <a:gd name="connsiteX88" fmla="*/ 1651274 w 1967615"/>
              <a:gd name="connsiteY88" fmla="*/ 1671517 h 1675246"/>
              <a:gd name="connsiteX89" fmla="*/ 1564665 w 1967615"/>
              <a:gd name="connsiteY89" fmla="*/ 1606230 h 1675246"/>
              <a:gd name="connsiteX90" fmla="*/ 1557245 w 1967615"/>
              <a:gd name="connsiteY90" fmla="*/ 1053490 h 1675246"/>
              <a:gd name="connsiteX91" fmla="*/ 1557245 w 1967615"/>
              <a:gd name="connsiteY91" fmla="*/ 517692 h 1675246"/>
              <a:gd name="connsiteX92" fmla="*/ 1567949 w 1967615"/>
              <a:gd name="connsiteY92" fmla="*/ 499518 h 1675246"/>
              <a:gd name="connsiteX93" fmla="*/ 1632699 w 1967615"/>
              <a:gd name="connsiteY93" fmla="*/ 446483 h 1675246"/>
              <a:gd name="connsiteX94" fmla="*/ 1660073 w 1967615"/>
              <a:gd name="connsiteY94" fmla="*/ 435766 h 1675246"/>
              <a:gd name="connsiteX95" fmla="*/ 1761096 w 1967615"/>
              <a:gd name="connsiteY95" fmla="*/ 435766 h 1675246"/>
              <a:gd name="connsiteX96" fmla="*/ 1862119 w 1967615"/>
              <a:gd name="connsiteY96" fmla="*/ 435766 h 1675246"/>
              <a:gd name="connsiteX97" fmla="*/ 1887838 w 1967615"/>
              <a:gd name="connsiteY97" fmla="*/ 445222 h 1675246"/>
              <a:gd name="connsiteX98" fmla="*/ 1956198 w 1967615"/>
              <a:gd name="connsiteY98" fmla="*/ 499092 h 1675246"/>
              <a:gd name="connsiteX99" fmla="*/ 1965097 w 1967615"/>
              <a:gd name="connsiteY99" fmla="*/ 514414 h 1675246"/>
              <a:gd name="connsiteX100" fmla="*/ 1966225 w 1967615"/>
              <a:gd name="connsiteY100" fmla="*/ 896170 h 1675246"/>
              <a:gd name="connsiteX101" fmla="*/ 1962766 w 1967615"/>
              <a:gd name="connsiteY101" fmla="*/ 1286677 h 1675246"/>
              <a:gd name="connsiteX102" fmla="*/ 1910926 w 1967615"/>
              <a:gd name="connsiteY102" fmla="*/ 1292097 h 1675246"/>
              <a:gd name="connsiteX103" fmla="*/ 1905361 w 1967615"/>
              <a:gd name="connsiteY103" fmla="*/ 905781 h 1675246"/>
              <a:gd name="connsiteX104" fmla="*/ 1903305 w 1967615"/>
              <a:gd name="connsiteY104" fmla="*/ 523764 h 1675246"/>
              <a:gd name="connsiteX105" fmla="*/ 1893077 w 1967615"/>
              <a:gd name="connsiteY105" fmla="*/ 511889 h 1675246"/>
              <a:gd name="connsiteX106" fmla="*/ 1760193 w 1967615"/>
              <a:gd name="connsiteY106" fmla="*/ 486558 h 1675246"/>
              <a:gd name="connsiteX107" fmla="*/ 1653731 w 1967615"/>
              <a:gd name="connsiteY107" fmla="*/ 494011 h 1675246"/>
              <a:gd name="connsiteX108" fmla="*/ 1630468 w 1967615"/>
              <a:gd name="connsiteY108" fmla="*/ 512518 h 1675246"/>
              <a:gd name="connsiteX109" fmla="*/ 1621093 w 1967615"/>
              <a:gd name="connsiteY109" fmla="*/ 523576 h 1675246"/>
              <a:gd name="connsiteX110" fmla="*/ 1621093 w 1967615"/>
              <a:gd name="connsiteY110" fmla="*/ 1054297 h 1675246"/>
              <a:gd name="connsiteX111" fmla="*/ 1651299 w 1967615"/>
              <a:gd name="connsiteY111" fmla="*/ 1616616 h 1675246"/>
              <a:gd name="connsiteX112" fmla="*/ 1751069 w 1967615"/>
              <a:gd name="connsiteY112" fmla="*/ 1626390 h 1675246"/>
              <a:gd name="connsiteX113" fmla="*/ 1852067 w 1967615"/>
              <a:gd name="connsiteY113" fmla="*/ 1623640 h 1675246"/>
              <a:gd name="connsiteX114" fmla="*/ 1900798 w 1967615"/>
              <a:gd name="connsiteY114" fmla="*/ 1585855 h 1675246"/>
              <a:gd name="connsiteX115" fmla="*/ 1905336 w 1967615"/>
              <a:gd name="connsiteY115" fmla="*/ 1469092 h 1675246"/>
              <a:gd name="connsiteX116" fmla="*/ 1905361 w 1967615"/>
              <a:gd name="connsiteY116" fmla="*/ 1365285 h 1675246"/>
              <a:gd name="connsiteX117" fmla="*/ 1916215 w 1967615"/>
              <a:gd name="connsiteY117" fmla="*/ 1358494 h 1675246"/>
              <a:gd name="connsiteX118" fmla="*/ 1957251 w 1967615"/>
              <a:gd name="connsiteY118" fmla="*/ 1359902 h 1675246"/>
              <a:gd name="connsiteX119" fmla="*/ 1967554 w 1967615"/>
              <a:gd name="connsiteY119" fmla="*/ 1368105 h 1675246"/>
              <a:gd name="connsiteX120" fmla="*/ 1966325 w 1967615"/>
              <a:gd name="connsiteY120" fmla="*/ 1481972 h 1675246"/>
              <a:gd name="connsiteX121" fmla="*/ 1955646 w 1967615"/>
              <a:gd name="connsiteY121" fmla="*/ 1612227 h 1675246"/>
              <a:gd name="connsiteX122" fmla="*/ 1887212 w 1967615"/>
              <a:gd name="connsiteY122" fmla="*/ 1666937 h 1675246"/>
              <a:gd name="connsiteX123" fmla="*/ 1767363 w 1967615"/>
              <a:gd name="connsiteY123" fmla="*/ 1675197 h 1675246"/>
              <a:gd name="connsiteX124" fmla="*/ 1651274 w 1967615"/>
              <a:gd name="connsiteY124" fmla="*/ 1671517 h 1675246"/>
              <a:gd name="connsiteX125" fmla="*/ 222239 w 1967615"/>
              <a:gd name="connsiteY125" fmla="*/ 914364 h 1675246"/>
              <a:gd name="connsiteX126" fmla="*/ 212112 w 1967615"/>
              <a:gd name="connsiteY126" fmla="*/ 898253 h 1675246"/>
              <a:gd name="connsiteX127" fmla="*/ 305990 w 1967615"/>
              <a:gd name="connsiteY127" fmla="*/ 789141 h 1675246"/>
              <a:gd name="connsiteX128" fmla="*/ 416965 w 1967615"/>
              <a:gd name="connsiteY128" fmla="*/ 669668 h 1675246"/>
              <a:gd name="connsiteX129" fmla="*/ 434086 w 1967615"/>
              <a:gd name="connsiteY129" fmla="*/ 651238 h 1675246"/>
              <a:gd name="connsiteX130" fmla="*/ 316970 w 1967615"/>
              <a:gd name="connsiteY130" fmla="*/ 584465 h 1675246"/>
              <a:gd name="connsiteX131" fmla="*/ 197798 w 1967615"/>
              <a:gd name="connsiteY131" fmla="*/ 490740 h 1675246"/>
              <a:gd name="connsiteX132" fmla="*/ 277037 w 1967615"/>
              <a:gd name="connsiteY132" fmla="*/ 468562 h 1675246"/>
              <a:gd name="connsiteX133" fmla="*/ 406587 w 1967615"/>
              <a:gd name="connsiteY133" fmla="*/ 447059 h 1675246"/>
              <a:gd name="connsiteX134" fmla="*/ 518740 w 1967615"/>
              <a:gd name="connsiteY134" fmla="*/ 438496 h 1675246"/>
              <a:gd name="connsiteX135" fmla="*/ 520069 w 1967615"/>
              <a:gd name="connsiteY135" fmla="*/ 471367 h 1675246"/>
              <a:gd name="connsiteX136" fmla="*/ 449002 w 1967615"/>
              <a:gd name="connsiteY136" fmla="*/ 491040 h 1675246"/>
              <a:gd name="connsiteX137" fmla="*/ 350135 w 1967615"/>
              <a:gd name="connsiteY137" fmla="*/ 508187 h 1675246"/>
              <a:gd name="connsiteX138" fmla="*/ 310302 w 1967615"/>
              <a:gd name="connsiteY138" fmla="*/ 515732 h 1675246"/>
              <a:gd name="connsiteX139" fmla="*/ 388238 w 1967615"/>
              <a:gd name="connsiteY139" fmla="*/ 563571 h 1675246"/>
              <a:gd name="connsiteX140" fmla="*/ 488859 w 1967615"/>
              <a:gd name="connsiteY140" fmla="*/ 621814 h 1675246"/>
              <a:gd name="connsiteX141" fmla="*/ 416013 w 1967615"/>
              <a:gd name="connsiteY141" fmla="*/ 754916 h 1675246"/>
              <a:gd name="connsiteX142" fmla="*/ 323362 w 1967615"/>
              <a:gd name="connsiteY142" fmla="*/ 855946 h 1675246"/>
              <a:gd name="connsiteX143" fmla="*/ 512874 w 1967615"/>
              <a:gd name="connsiteY143" fmla="*/ 808536 h 1675246"/>
              <a:gd name="connsiteX144" fmla="*/ 1354648 w 1967615"/>
              <a:gd name="connsiteY144" fmla="*/ 291717 h 1675246"/>
              <a:gd name="connsiteX145" fmla="*/ 1423008 w 1967615"/>
              <a:gd name="connsiteY145" fmla="*/ 237503 h 1675246"/>
              <a:gd name="connsiteX146" fmla="*/ 1462113 w 1967615"/>
              <a:gd name="connsiteY146" fmla="*/ 257372 h 1675246"/>
              <a:gd name="connsiteX147" fmla="*/ 1488810 w 1967615"/>
              <a:gd name="connsiteY147" fmla="*/ 277240 h 1675246"/>
              <a:gd name="connsiteX148" fmla="*/ 1492871 w 1967615"/>
              <a:gd name="connsiteY148" fmla="*/ 264744 h 1675246"/>
              <a:gd name="connsiteX149" fmla="*/ 1545464 w 1967615"/>
              <a:gd name="connsiteY149" fmla="*/ 58279 h 1675246"/>
              <a:gd name="connsiteX150" fmla="*/ 1275309 w 1967615"/>
              <a:gd name="connsiteY150" fmla="*/ 98480 h 1675246"/>
              <a:gd name="connsiteX151" fmla="*/ 1298998 w 1967615"/>
              <a:gd name="connsiteY151" fmla="*/ 123834 h 1675246"/>
              <a:gd name="connsiteX152" fmla="*/ 1328603 w 1967615"/>
              <a:gd name="connsiteY152" fmla="*/ 159545 h 1675246"/>
              <a:gd name="connsiteX153" fmla="*/ 1301730 w 1967615"/>
              <a:gd name="connsiteY153" fmla="*/ 189684 h 1675246"/>
              <a:gd name="connsiteX154" fmla="*/ 863045 w 1967615"/>
              <a:gd name="connsiteY154" fmla="*/ 387641 h 1675246"/>
              <a:gd name="connsiteX155" fmla="*/ 631119 w 1967615"/>
              <a:gd name="connsiteY155" fmla="*/ 450511 h 1675246"/>
              <a:gd name="connsiteX156" fmla="*/ 603494 w 1967615"/>
              <a:gd name="connsiteY156" fmla="*/ 427231 h 1675246"/>
              <a:gd name="connsiteX157" fmla="*/ 645683 w 1967615"/>
              <a:gd name="connsiteY157" fmla="*/ 396355 h 1675246"/>
              <a:gd name="connsiteX158" fmla="*/ 1211085 w 1967615"/>
              <a:gd name="connsiteY158" fmla="*/ 182018 h 1675246"/>
              <a:gd name="connsiteX159" fmla="*/ 1251194 w 1967615"/>
              <a:gd name="connsiteY159" fmla="*/ 158344 h 1675246"/>
              <a:gd name="connsiteX160" fmla="*/ 1213968 w 1967615"/>
              <a:gd name="connsiteY160" fmla="*/ 128145 h 1675246"/>
              <a:gd name="connsiteX161" fmla="*/ 1173935 w 1967615"/>
              <a:gd name="connsiteY161" fmla="*/ 89052 h 1675246"/>
              <a:gd name="connsiteX162" fmla="*/ 1193889 w 1967615"/>
              <a:gd name="connsiteY162" fmla="*/ 60909 h 1675246"/>
              <a:gd name="connsiteX163" fmla="*/ 1399243 w 1967615"/>
              <a:gd name="connsiteY163" fmla="*/ 27685 h 1675246"/>
              <a:gd name="connsiteX164" fmla="*/ 1606178 w 1967615"/>
              <a:gd name="connsiteY164" fmla="*/ 2637 h 1675246"/>
              <a:gd name="connsiteX165" fmla="*/ 1619363 w 1967615"/>
              <a:gd name="connsiteY165" fmla="*/ 16136 h 1675246"/>
              <a:gd name="connsiteX166" fmla="*/ 1534083 w 1967615"/>
              <a:gd name="connsiteY166" fmla="*/ 343113 h 1675246"/>
              <a:gd name="connsiteX167" fmla="*/ 1505505 w 1967615"/>
              <a:gd name="connsiteY167" fmla="*/ 355477 h 1675246"/>
              <a:gd name="connsiteX168" fmla="*/ 1462740 w 1967615"/>
              <a:gd name="connsiteY168" fmla="*/ 329261 h 1675246"/>
              <a:gd name="connsiteX169" fmla="*/ 1426768 w 1967615"/>
              <a:gd name="connsiteY169" fmla="*/ 303045 h 1675246"/>
              <a:gd name="connsiteX170" fmla="*/ 1404633 w 1967615"/>
              <a:gd name="connsiteY170" fmla="*/ 323525 h 1675246"/>
              <a:gd name="connsiteX171" fmla="*/ 1066996 w 1967615"/>
              <a:gd name="connsiteY171" fmla="*/ 599626 h 1675246"/>
              <a:gd name="connsiteX172" fmla="*/ 321607 w 1967615"/>
              <a:gd name="connsiteY172" fmla="*/ 909538 h 1675246"/>
              <a:gd name="connsiteX173" fmla="*/ 222239 w 1967615"/>
              <a:gd name="connsiteY173" fmla="*/ 914364 h 167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1967615" h="1675246">
                <a:moveTo>
                  <a:pt x="94694" y="1671652"/>
                </a:moveTo>
                <a:cubicBezTo>
                  <a:pt x="67596" y="1664656"/>
                  <a:pt x="54235" y="1657875"/>
                  <a:pt x="34507" y="1641095"/>
                </a:cubicBezTo>
                <a:cubicBezTo>
                  <a:pt x="741" y="1612397"/>
                  <a:pt x="-61" y="1608687"/>
                  <a:pt x="-61" y="1481145"/>
                </a:cubicBezTo>
                <a:lnTo>
                  <a:pt x="-61" y="1369724"/>
                </a:lnTo>
                <a:lnTo>
                  <a:pt x="10868" y="1351217"/>
                </a:lnTo>
                <a:cubicBezTo>
                  <a:pt x="24154" y="1328666"/>
                  <a:pt x="47016" y="1309875"/>
                  <a:pt x="74289" y="1299131"/>
                </a:cubicBezTo>
                <a:cubicBezTo>
                  <a:pt x="94043" y="1291340"/>
                  <a:pt x="98004" y="1291042"/>
                  <a:pt x="195843" y="1290054"/>
                </a:cubicBezTo>
                <a:cubicBezTo>
                  <a:pt x="291351" y="1289089"/>
                  <a:pt x="298320" y="1289430"/>
                  <a:pt x="321482" y="1296195"/>
                </a:cubicBezTo>
                <a:cubicBezTo>
                  <a:pt x="339456" y="1301447"/>
                  <a:pt x="352165" y="1308321"/>
                  <a:pt x="369036" y="1321943"/>
                </a:cubicBezTo>
                <a:cubicBezTo>
                  <a:pt x="406236" y="1351979"/>
                  <a:pt x="407163" y="1355511"/>
                  <a:pt x="408918" y="1473680"/>
                </a:cubicBezTo>
                <a:cubicBezTo>
                  <a:pt x="410548" y="1583163"/>
                  <a:pt x="408116" y="1600628"/>
                  <a:pt x="387811" y="1626222"/>
                </a:cubicBezTo>
                <a:cubicBezTo>
                  <a:pt x="374776" y="1642629"/>
                  <a:pt x="350962" y="1659023"/>
                  <a:pt x="327674" y="1667591"/>
                </a:cubicBezTo>
                <a:cubicBezTo>
                  <a:pt x="310477" y="1673923"/>
                  <a:pt x="300826" y="1674547"/>
                  <a:pt x="210056" y="1675197"/>
                </a:cubicBezTo>
                <a:cubicBezTo>
                  <a:pt x="138137" y="1675711"/>
                  <a:pt x="106702" y="1674746"/>
                  <a:pt x="94694" y="1671652"/>
                </a:cubicBezTo>
                <a:close/>
                <a:moveTo>
                  <a:pt x="311154" y="1618122"/>
                </a:moveTo>
                <a:cubicBezTo>
                  <a:pt x="319176" y="1614157"/>
                  <a:pt x="329905" y="1605005"/>
                  <a:pt x="334994" y="1597785"/>
                </a:cubicBezTo>
                <a:cubicBezTo>
                  <a:pt x="344169" y="1584815"/>
                  <a:pt x="344269" y="1583389"/>
                  <a:pt x="343090" y="1478829"/>
                </a:cubicBezTo>
                <a:cubicBezTo>
                  <a:pt x="341887" y="1373066"/>
                  <a:pt x="341887" y="1372995"/>
                  <a:pt x="332011" y="1361971"/>
                </a:cubicBezTo>
                <a:cubicBezTo>
                  <a:pt x="313511" y="1341347"/>
                  <a:pt x="299122" y="1338735"/>
                  <a:pt x="203890" y="1338735"/>
                </a:cubicBezTo>
                <a:cubicBezTo>
                  <a:pt x="130642" y="1338735"/>
                  <a:pt x="117230" y="1339538"/>
                  <a:pt x="102942" y="1344757"/>
                </a:cubicBezTo>
                <a:cubicBezTo>
                  <a:pt x="62909" y="1359381"/>
                  <a:pt x="60076" y="1368310"/>
                  <a:pt x="59876" y="1481145"/>
                </a:cubicBezTo>
                <a:cubicBezTo>
                  <a:pt x="59725" y="1579523"/>
                  <a:pt x="61630" y="1591809"/>
                  <a:pt x="79503" y="1607622"/>
                </a:cubicBezTo>
                <a:cubicBezTo>
                  <a:pt x="99056" y="1624908"/>
                  <a:pt x="113897" y="1627011"/>
                  <a:pt x="210056" y="1626129"/>
                </a:cubicBezTo>
                <a:cubicBezTo>
                  <a:pt x="291100" y="1625385"/>
                  <a:pt x="297492" y="1624878"/>
                  <a:pt x="311154" y="1618122"/>
                </a:cubicBezTo>
                <a:close/>
                <a:moveTo>
                  <a:pt x="613797" y="1671652"/>
                </a:moveTo>
                <a:cubicBezTo>
                  <a:pt x="604747" y="1669313"/>
                  <a:pt x="591662" y="1665052"/>
                  <a:pt x="584743" y="1662184"/>
                </a:cubicBezTo>
                <a:cubicBezTo>
                  <a:pt x="566920" y="1654794"/>
                  <a:pt x="538418" y="1629185"/>
                  <a:pt x="527940" y="1611164"/>
                </a:cubicBezTo>
                <a:cubicBezTo>
                  <a:pt x="519116" y="1595963"/>
                  <a:pt x="519041" y="1594175"/>
                  <a:pt x="519041" y="1384471"/>
                </a:cubicBezTo>
                <a:cubicBezTo>
                  <a:pt x="519041" y="1174767"/>
                  <a:pt x="519116" y="1172980"/>
                  <a:pt x="527940" y="1157779"/>
                </a:cubicBezTo>
                <a:cubicBezTo>
                  <a:pt x="540549" y="1136078"/>
                  <a:pt x="567572" y="1114124"/>
                  <a:pt x="594670" y="1103532"/>
                </a:cubicBezTo>
                <a:lnTo>
                  <a:pt x="617933" y="1094453"/>
                </a:lnTo>
                <a:lnTo>
                  <a:pt x="722967" y="1094453"/>
                </a:lnTo>
                <a:lnTo>
                  <a:pt x="828025" y="1094453"/>
                </a:lnTo>
                <a:lnTo>
                  <a:pt x="851514" y="1103628"/>
                </a:lnTo>
                <a:cubicBezTo>
                  <a:pt x="879715" y="1114635"/>
                  <a:pt x="908769" y="1139186"/>
                  <a:pt x="919272" y="1160832"/>
                </a:cubicBezTo>
                <a:cubicBezTo>
                  <a:pt x="926216" y="1175174"/>
                  <a:pt x="926892" y="1191974"/>
                  <a:pt x="928020" y="1377753"/>
                </a:cubicBezTo>
                <a:cubicBezTo>
                  <a:pt x="929224" y="1572279"/>
                  <a:pt x="928998" y="1579872"/>
                  <a:pt x="920901" y="1601034"/>
                </a:cubicBezTo>
                <a:cubicBezTo>
                  <a:pt x="910348" y="1628691"/>
                  <a:pt x="884879" y="1652285"/>
                  <a:pt x="851539" y="1665312"/>
                </a:cubicBezTo>
                <a:lnTo>
                  <a:pt x="828025" y="1674490"/>
                </a:lnTo>
                <a:lnTo>
                  <a:pt x="729158" y="1675197"/>
                </a:lnTo>
                <a:cubicBezTo>
                  <a:pt x="657214" y="1675711"/>
                  <a:pt x="625779" y="1674746"/>
                  <a:pt x="613797" y="1671652"/>
                </a:cubicBezTo>
                <a:close/>
                <a:moveTo>
                  <a:pt x="832864" y="1616616"/>
                </a:moveTo>
                <a:cubicBezTo>
                  <a:pt x="866128" y="1599084"/>
                  <a:pt x="864950" y="1606860"/>
                  <a:pt x="866304" y="1394619"/>
                </a:cubicBezTo>
                <a:cubicBezTo>
                  <a:pt x="867106" y="1268511"/>
                  <a:pt x="866028" y="1200858"/>
                  <a:pt x="863020" y="1189379"/>
                </a:cubicBezTo>
                <a:cubicBezTo>
                  <a:pt x="856979" y="1166244"/>
                  <a:pt x="837075" y="1150221"/>
                  <a:pt x="807971" y="1145087"/>
                </a:cubicBezTo>
                <a:cubicBezTo>
                  <a:pt x="794886" y="1142781"/>
                  <a:pt x="757811" y="1141788"/>
                  <a:pt x="710608" y="1142485"/>
                </a:cubicBezTo>
                <a:cubicBezTo>
                  <a:pt x="623272" y="1143771"/>
                  <a:pt x="610663" y="1146616"/>
                  <a:pt x="591813" y="1169275"/>
                </a:cubicBezTo>
                <a:lnTo>
                  <a:pt x="580833" y="1182448"/>
                </a:lnTo>
                <a:lnTo>
                  <a:pt x="579680" y="1376954"/>
                </a:lnTo>
                <a:cubicBezTo>
                  <a:pt x="578903" y="1507737"/>
                  <a:pt x="579981" y="1575730"/>
                  <a:pt x="582938" y="1584494"/>
                </a:cubicBezTo>
                <a:cubicBezTo>
                  <a:pt x="588228" y="1600076"/>
                  <a:pt x="610764" y="1619012"/>
                  <a:pt x="629289" y="1623429"/>
                </a:cubicBezTo>
                <a:cubicBezTo>
                  <a:pt x="636633" y="1625179"/>
                  <a:pt x="681705" y="1626325"/>
                  <a:pt x="729459" y="1625974"/>
                </a:cubicBezTo>
                <a:cubicBezTo>
                  <a:pt x="815993" y="1625337"/>
                  <a:pt x="816369" y="1625302"/>
                  <a:pt x="832864" y="1616616"/>
                </a:cubicBezTo>
                <a:close/>
                <a:moveTo>
                  <a:pt x="1132172" y="1671517"/>
                </a:moveTo>
                <a:cubicBezTo>
                  <a:pt x="1095749" y="1662229"/>
                  <a:pt x="1063386" y="1639245"/>
                  <a:pt x="1046942" y="1610988"/>
                </a:cubicBezTo>
                <a:lnTo>
                  <a:pt x="1038143" y="1595842"/>
                </a:lnTo>
                <a:lnTo>
                  <a:pt x="1038143" y="1264858"/>
                </a:lnTo>
                <a:lnTo>
                  <a:pt x="1038143" y="933877"/>
                </a:lnTo>
                <a:lnTo>
                  <a:pt x="1047042" y="918555"/>
                </a:lnTo>
                <a:cubicBezTo>
                  <a:pt x="1059651" y="896852"/>
                  <a:pt x="1086649" y="874900"/>
                  <a:pt x="1113772" y="864306"/>
                </a:cubicBezTo>
                <a:lnTo>
                  <a:pt x="1137010" y="855227"/>
                </a:lnTo>
                <a:lnTo>
                  <a:pt x="1242069" y="855227"/>
                </a:lnTo>
                <a:lnTo>
                  <a:pt x="1347128" y="855227"/>
                </a:lnTo>
                <a:lnTo>
                  <a:pt x="1370366" y="864306"/>
                </a:lnTo>
                <a:cubicBezTo>
                  <a:pt x="1397489" y="874900"/>
                  <a:pt x="1424487" y="896852"/>
                  <a:pt x="1437096" y="918555"/>
                </a:cubicBezTo>
                <a:lnTo>
                  <a:pt x="1446020" y="933877"/>
                </a:lnTo>
                <a:lnTo>
                  <a:pt x="1446020" y="1264858"/>
                </a:lnTo>
                <a:lnTo>
                  <a:pt x="1446020" y="1595842"/>
                </a:lnTo>
                <a:lnTo>
                  <a:pt x="1434589" y="1614330"/>
                </a:lnTo>
                <a:cubicBezTo>
                  <a:pt x="1421278" y="1635898"/>
                  <a:pt x="1393678" y="1657379"/>
                  <a:pt x="1366405" y="1667408"/>
                </a:cubicBezTo>
                <a:cubicBezTo>
                  <a:pt x="1348556" y="1673968"/>
                  <a:pt x="1339833" y="1674542"/>
                  <a:pt x="1248261" y="1675197"/>
                </a:cubicBezTo>
                <a:cubicBezTo>
                  <a:pt x="1174913" y="1675721"/>
                  <a:pt x="1144931" y="1674771"/>
                  <a:pt x="1132172" y="1671517"/>
                </a:cubicBezTo>
                <a:close/>
                <a:moveTo>
                  <a:pt x="1350011" y="1617797"/>
                </a:moveTo>
                <a:cubicBezTo>
                  <a:pt x="1358408" y="1613650"/>
                  <a:pt x="1369513" y="1604802"/>
                  <a:pt x="1374727" y="1598133"/>
                </a:cubicBezTo>
                <a:lnTo>
                  <a:pt x="1384203" y="1586011"/>
                </a:lnTo>
                <a:lnTo>
                  <a:pt x="1384203" y="1264858"/>
                </a:lnTo>
                <a:lnTo>
                  <a:pt x="1384203" y="943708"/>
                </a:lnTo>
                <a:lnTo>
                  <a:pt x="1374727" y="931585"/>
                </a:lnTo>
                <a:cubicBezTo>
                  <a:pt x="1369513" y="924918"/>
                  <a:pt x="1358408" y="916069"/>
                  <a:pt x="1350011" y="911922"/>
                </a:cubicBezTo>
                <a:cubicBezTo>
                  <a:pt x="1335271" y="904635"/>
                  <a:pt x="1331661" y="904385"/>
                  <a:pt x="1241768" y="904385"/>
                </a:cubicBezTo>
                <a:lnTo>
                  <a:pt x="1148767" y="904385"/>
                </a:lnTo>
                <a:lnTo>
                  <a:pt x="1132222" y="913103"/>
                </a:lnTo>
                <a:cubicBezTo>
                  <a:pt x="1123098" y="917899"/>
                  <a:pt x="1112118" y="927484"/>
                  <a:pt x="1107806" y="934403"/>
                </a:cubicBezTo>
                <a:cubicBezTo>
                  <a:pt x="1100261" y="946468"/>
                  <a:pt x="1099885" y="959611"/>
                  <a:pt x="1098807" y="1254934"/>
                </a:cubicBezTo>
                <a:cubicBezTo>
                  <a:pt x="1098030" y="1470434"/>
                  <a:pt x="1099033" y="1568125"/>
                  <a:pt x="1102241" y="1580338"/>
                </a:cubicBezTo>
                <a:cubicBezTo>
                  <a:pt x="1107481" y="1600405"/>
                  <a:pt x="1126557" y="1618225"/>
                  <a:pt x="1148366" y="1623429"/>
                </a:cubicBezTo>
                <a:cubicBezTo>
                  <a:pt x="1155736" y="1625179"/>
                  <a:pt x="1200682" y="1626325"/>
                  <a:pt x="1248261" y="1625974"/>
                </a:cubicBezTo>
                <a:cubicBezTo>
                  <a:pt x="1330658" y="1625365"/>
                  <a:pt x="1335496" y="1624976"/>
                  <a:pt x="1350011" y="1617797"/>
                </a:cubicBezTo>
                <a:close/>
                <a:moveTo>
                  <a:pt x="1651274" y="1671517"/>
                </a:moveTo>
                <a:cubicBezTo>
                  <a:pt x="1612269" y="1661575"/>
                  <a:pt x="1577425" y="1635317"/>
                  <a:pt x="1564665" y="1606230"/>
                </a:cubicBezTo>
                <a:cubicBezTo>
                  <a:pt x="1557621" y="1590167"/>
                  <a:pt x="1557245" y="1561432"/>
                  <a:pt x="1557245" y="1053490"/>
                </a:cubicBezTo>
                <a:lnTo>
                  <a:pt x="1557245" y="517692"/>
                </a:lnTo>
                <a:lnTo>
                  <a:pt x="1567949" y="499518"/>
                </a:lnTo>
                <a:cubicBezTo>
                  <a:pt x="1583266" y="473581"/>
                  <a:pt x="1601339" y="458761"/>
                  <a:pt x="1632699" y="446483"/>
                </a:cubicBezTo>
                <a:lnTo>
                  <a:pt x="1660073" y="435766"/>
                </a:lnTo>
                <a:lnTo>
                  <a:pt x="1761096" y="435766"/>
                </a:lnTo>
                <a:lnTo>
                  <a:pt x="1862119" y="435766"/>
                </a:lnTo>
                <a:lnTo>
                  <a:pt x="1887838" y="445222"/>
                </a:lnTo>
                <a:cubicBezTo>
                  <a:pt x="1917318" y="456043"/>
                  <a:pt x="1942912" y="476225"/>
                  <a:pt x="1956198" y="499092"/>
                </a:cubicBezTo>
                <a:lnTo>
                  <a:pt x="1965097" y="514414"/>
                </a:lnTo>
                <a:lnTo>
                  <a:pt x="1966225" y="896170"/>
                </a:lnTo>
                <a:cubicBezTo>
                  <a:pt x="1967027" y="1169491"/>
                  <a:pt x="1966050" y="1280413"/>
                  <a:pt x="1962766" y="1286677"/>
                </a:cubicBezTo>
                <a:cubicBezTo>
                  <a:pt x="1954468" y="1302620"/>
                  <a:pt x="1922206" y="1305994"/>
                  <a:pt x="1910926" y="1292097"/>
                </a:cubicBezTo>
                <a:cubicBezTo>
                  <a:pt x="1908996" y="1289733"/>
                  <a:pt x="1906514" y="1115891"/>
                  <a:pt x="1905361" y="905781"/>
                </a:cubicBezTo>
                <a:lnTo>
                  <a:pt x="1903305" y="523764"/>
                </a:lnTo>
                <a:lnTo>
                  <a:pt x="1893077" y="511889"/>
                </a:lnTo>
                <a:cubicBezTo>
                  <a:pt x="1872597" y="488103"/>
                  <a:pt x="1864500" y="486558"/>
                  <a:pt x="1760193" y="486558"/>
                </a:cubicBezTo>
                <a:cubicBezTo>
                  <a:pt x="1670752" y="486558"/>
                  <a:pt x="1667167" y="486809"/>
                  <a:pt x="1653731" y="494011"/>
                </a:cubicBezTo>
                <a:cubicBezTo>
                  <a:pt x="1646085" y="498110"/>
                  <a:pt x="1635607" y="506437"/>
                  <a:pt x="1630468" y="512518"/>
                </a:cubicBezTo>
                <a:lnTo>
                  <a:pt x="1621093" y="523576"/>
                </a:lnTo>
                <a:lnTo>
                  <a:pt x="1621093" y="1054297"/>
                </a:lnTo>
                <a:cubicBezTo>
                  <a:pt x="1621093" y="1648765"/>
                  <a:pt x="1618436" y="1599307"/>
                  <a:pt x="1651299" y="1616616"/>
                </a:cubicBezTo>
                <a:cubicBezTo>
                  <a:pt x="1667643" y="1625227"/>
                  <a:pt x="1668872" y="1625347"/>
                  <a:pt x="1751069" y="1626390"/>
                </a:cubicBezTo>
                <a:cubicBezTo>
                  <a:pt x="1805466" y="1627082"/>
                  <a:pt x="1840460" y="1626127"/>
                  <a:pt x="1852067" y="1623640"/>
                </a:cubicBezTo>
                <a:cubicBezTo>
                  <a:pt x="1874202" y="1618902"/>
                  <a:pt x="1894857" y="1602876"/>
                  <a:pt x="1900798" y="1585855"/>
                </a:cubicBezTo>
                <a:cubicBezTo>
                  <a:pt x="1903631" y="1577713"/>
                  <a:pt x="1905336" y="1534336"/>
                  <a:pt x="1905336" y="1469092"/>
                </a:cubicBezTo>
                <a:lnTo>
                  <a:pt x="1905361" y="1365285"/>
                </a:lnTo>
                <a:lnTo>
                  <a:pt x="1916215" y="1358494"/>
                </a:lnTo>
                <a:cubicBezTo>
                  <a:pt x="1930679" y="1349442"/>
                  <a:pt x="1944717" y="1349923"/>
                  <a:pt x="1957251" y="1359902"/>
                </a:cubicBezTo>
                <a:lnTo>
                  <a:pt x="1967554" y="1368105"/>
                </a:lnTo>
                <a:lnTo>
                  <a:pt x="1966325" y="1481972"/>
                </a:lnTo>
                <a:cubicBezTo>
                  <a:pt x="1965147" y="1592751"/>
                  <a:pt x="1964846" y="1596286"/>
                  <a:pt x="1955646" y="1612227"/>
                </a:cubicBezTo>
                <a:cubicBezTo>
                  <a:pt x="1943263" y="1633649"/>
                  <a:pt x="1913457" y="1657481"/>
                  <a:pt x="1887212" y="1666937"/>
                </a:cubicBezTo>
                <a:cubicBezTo>
                  <a:pt x="1867383" y="1674074"/>
                  <a:pt x="1860765" y="1674530"/>
                  <a:pt x="1767363" y="1675197"/>
                </a:cubicBezTo>
                <a:cubicBezTo>
                  <a:pt x="1694015" y="1675721"/>
                  <a:pt x="1664034" y="1674771"/>
                  <a:pt x="1651274" y="1671517"/>
                </a:cubicBezTo>
                <a:close/>
                <a:moveTo>
                  <a:pt x="222239" y="914364"/>
                </a:moveTo>
                <a:cubicBezTo>
                  <a:pt x="216674" y="909940"/>
                  <a:pt x="212112" y="902690"/>
                  <a:pt x="212112" y="898253"/>
                </a:cubicBezTo>
                <a:cubicBezTo>
                  <a:pt x="212112" y="892873"/>
                  <a:pt x="243396" y="856518"/>
                  <a:pt x="305990" y="789141"/>
                </a:cubicBezTo>
                <a:cubicBezTo>
                  <a:pt x="357605" y="733568"/>
                  <a:pt x="407565" y="679805"/>
                  <a:pt x="416965" y="669668"/>
                </a:cubicBezTo>
                <a:lnTo>
                  <a:pt x="434086" y="651238"/>
                </a:lnTo>
                <a:lnTo>
                  <a:pt x="316970" y="584465"/>
                </a:lnTo>
                <a:cubicBezTo>
                  <a:pt x="192383" y="513431"/>
                  <a:pt x="187746" y="509786"/>
                  <a:pt x="197798" y="490740"/>
                </a:cubicBezTo>
                <a:cubicBezTo>
                  <a:pt x="204215" y="478634"/>
                  <a:pt x="203564" y="478812"/>
                  <a:pt x="277037" y="468562"/>
                </a:cubicBezTo>
                <a:cubicBezTo>
                  <a:pt x="309099" y="464088"/>
                  <a:pt x="367406" y="454412"/>
                  <a:pt x="406587" y="447059"/>
                </a:cubicBezTo>
                <a:cubicBezTo>
                  <a:pt x="506532" y="428304"/>
                  <a:pt x="505980" y="428349"/>
                  <a:pt x="518740" y="438496"/>
                </a:cubicBezTo>
                <a:cubicBezTo>
                  <a:pt x="531800" y="448894"/>
                  <a:pt x="532277" y="460681"/>
                  <a:pt x="520069" y="471367"/>
                </a:cubicBezTo>
                <a:cubicBezTo>
                  <a:pt x="512649" y="477875"/>
                  <a:pt x="498585" y="481763"/>
                  <a:pt x="449002" y="491040"/>
                </a:cubicBezTo>
                <a:cubicBezTo>
                  <a:pt x="415010" y="497398"/>
                  <a:pt x="370515" y="505116"/>
                  <a:pt x="350135" y="508187"/>
                </a:cubicBezTo>
                <a:cubicBezTo>
                  <a:pt x="329730" y="511260"/>
                  <a:pt x="311806" y="514654"/>
                  <a:pt x="310302" y="515732"/>
                </a:cubicBezTo>
                <a:cubicBezTo>
                  <a:pt x="308773" y="516810"/>
                  <a:pt x="343843" y="538336"/>
                  <a:pt x="388238" y="563571"/>
                </a:cubicBezTo>
                <a:cubicBezTo>
                  <a:pt x="432632" y="588805"/>
                  <a:pt x="477930" y="615013"/>
                  <a:pt x="488859" y="621814"/>
                </a:cubicBezTo>
                <a:cubicBezTo>
                  <a:pt x="521673" y="642221"/>
                  <a:pt x="522826" y="640151"/>
                  <a:pt x="416013" y="754916"/>
                </a:cubicBezTo>
                <a:cubicBezTo>
                  <a:pt x="365050" y="809689"/>
                  <a:pt x="323362" y="855154"/>
                  <a:pt x="323362" y="855946"/>
                </a:cubicBezTo>
                <a:cubicBezTo>
                  <a:pt x="323362" y="860413"/>
                  <a:pt x="441557" y="830838"/>
                  <a:pt x="512874" y="808536"/>
                </a:cubicBezTo>
                <a:cubicBezTo>
                  <a:pt x="817873" y="713120"/>
                  <a:pt x="1137261" y="517046"/>
                  <a:pt x="1354648" y="291717"/>
                </a:cubicBezTo>
                <a:cubicBezTo>
                  <a:pt x="1403605" y="240965"/>
                  <a:pt x="1407967" y="237503"/>
                  <a:pt x="1423008" y="237503"/>
                </a:cubicBezTo>
                <a:cubicBezTo>
                  <a:pt x="1432483" y="237503"/>
                  <a:pt x="1441683" y="242173"/>
                  <a:pt x="1462113" y="257372"/>
                </a:cubicBezTo>
                <a:lnTo>
                  <a:pt x="1488810" y="277240"/>
                </a:lnTo>
                <a:lnTo>
                  <a:pt x="1492871" y="264744"/>
                </a:lnTo>
                <a:cubicBezTo>
                  <a:pt x="1504277" y="229506"/>
                  <a:pt x="1547519" y="59898"/>
                  <a:pt x="1545464" y="58279"/>
                </a:cubicBezTo>
                <a:cubicBezTo>
                  <a:pt x="1543383" y="56623"/>
                  <a:pt x="1290424" y="94266"/>
                  <a:pt x="1275309" y="98480"/>
                </a:cubicBezTo>
                <a:cubicBezTo>
                  <a:pt x="1271223" y="99618"/>
                  <a:pt x="1278542" y="107452"/>
                  <a:pt x="1298998" y="123834"/>
                </a:cubicBezTo>
                <a:cubicBezTo>
                  <a:pt x="1324893" y="144585"/>
                  <a:pt x="1328603" y="149034"/>
                  <a:pt x="1328603" y="159545"/>
                </a:cubicBezTo>
                <a:cubicBezTo>
                  <a:pt x="1328603" y="170289"/>
                  <a:pt x="1325770" y="173460"/>
                  <a:pt x="1301730" y="189684"/>
                </a:cubicBezTo>
                <a:cubicBezTo>
                  <a:pt x="1200457" y="258013"/>
                  <a:pt x="1034032" y="333121"/>
                  <a:pt x="863045" y="387641"/>
                </a:cubicBezTo>
                <a:cubicBezTo>
                  <a:pt x="781375" y="413681"/>
                  <a:pt x="645508" y="450511"/>
                  <a:pt x="631119" y="450511"/>
                </a:cubicBezTo>
                <a:cubicBezTo>
                  <a:pt x="617206" y="450511"/>
                  <a:pt x="603494" y="438962"/>
                  <a:pt x="603494" y="427231"/>
                </a:cubicBezTo>
                <a:cubicBezTo>
                  <a:pt x="603494" y="410270"/>
                  <a:pt x="609761" y="405685"/>
                  <a:pt x="645683" y="396355"/>
                </a:cubicBezTo>
                <a:cubicBezTo>
                  <a:pt x="885455" y="334081"/>
                  <a:pt x="1075394" y="262077"/>
                  <a:pt x="1211085" y="182018"/>
                </a:cubicBezTo>
                <a:lnTo>
                  <a:pt x="1251194" y="158344"/>
                </a:lnTo>
                <a:lnTo>
                  <a:pt x="1213968" y="128145"/>
                </a:lnTo>
                <a:cubicBezTo>
                  <a:pt x="1193488" y="111538"/>
                  <a:pt x="1175489" y="93945"/>
                  <a:pt x="1173935" y="89052"/>
                </a:cubicBezTo>
                <a:cubicBezTo>
                  <a:pt x="1170601" y="78489"/>
                  <a:pt x="1180277" y="64845"/>
                  <a:pt x="1193889" y="60909"/>
                </a:cubicBezTo>
                <a:cubicBezTo>
                  <a:pt x="1198852" y="59469"/>
                  <a:pt x="1291277" y="44518"/>
                  <a:pt x="1399243" y="27685"/>
                </a:cubicBezTo>
                <a:cubicBezTo>
                  <a:pt x="1588805" y="-1870"/>
                  <a:pt x="1595900" y="-2729"/>
                  <a:pt x="1606178" y="2637"/>
                </a:cubicBezTo>
                <a:cubicBezTo>
                  <a:pt x="1612043" y="5693"/>
                  <a:pt x="1617984" y="11767"/>
                  <a:pt x="1619363" y="16136"/>
                </a:cubicBezTo>
                <a:cubicBezTo>
                  <a:pt x="1621870" y="24089"/>
                  <a:pt x="1541578" y="331963"/>
                  <a:pt x="1534083" y="343113"/>
                </a:cubicBezTo>
                <a:cubicBezTo>
                  <a:pt x="1529295" y="350245"/>
                  <a:pt x="1517187" y="355477"/>
                  <a:pt x="1505505" y="355477"/>
                </a:cubicBezTo>
                <a:cubicBezTo>
                  <a:pt x="1499815" y="355477"/>
                  <a:pt x="1484123" y="345858"/>
                  <a:pt x="1462740" y="329261"/>
                </a:cubicBezTo>
                <a:cubicBezTo>
                  <a:pt x="1444165" y="314842"/>
                  <a:pt x="1427971" y="303045"/>
                  <a:pt x="1426768" y="303045"/>
                </a:cubicBezTo>
                <a:cubicBezTo>
                  <a:pt x="1425565" y="303045"/>
                  <a:pt x="1415588" y="312263"/>
                  <a:pt x="1404633" y="323525"/>
                </a:cubicBezTo>
                <a:cubicBezTo>
                  <a:pt x="1317698" y="412864"/>
                  <a:pt x="1183962" y="522225"/>
                  <a:pt x="1066996" y="599626"/>
                </a:cubicBezTo>
                <a:cubicBezTo>
                  <a:pt x="834443" y="753502"/>
                  <a:pt x="581986" y="858473"/>
                  <a:pt x="321607" y="909538"/>
                </a:cubicBezTo>
                <a:cubicBezTo>
                  <a:pt x="244274" y="924704"/>
                  <a:pt x="235750" y="925118"/>
                  <a:pt x="222239" y="914364"/>
                </a:cubicBezTo>
                <a:close/>
              </a:path>
            </a:pathLst>
          </a:custGeom>
          <a:solidFill>
            <a:srgbClr val="003F62"/>
          </a:solidFill>
          <a:ln w="3659" cap="flat">
            <a:noFill/>
            <a:prstDash val="solid"/>
            <a:miter/>
          </a:ln>
        </p:spPr>
        <p:txBody>
          <a:bodyPr rtlCol="0" anchor="ctr"/>
          <a:lstStyle/>
          <a:p>
            <a:endParaRPr lang="en-IN">
              <a:solidFill>
                <a:schemeClr val="bg1"/>
              </a:solidFill>
            </a:endParaRPr>
          </a:p>
        </p:txBody>
      </p:sp>
      <p:sp>
        <p:nvSpPr>
          <p:cNvPr id="28" name="Freeform: Shape 27">
            <a:extLst>
              <a:ext uri="{FF2B5EF4-FFF2-40B4-BE49-F238E27FC236}">
                <a16:creationId xmlns:a16="http://schemas.microsoft.com/office/drawing/2014/main" id="{C7952D7A-E58D-4E7C-8A6D-F74935E9CA6D}"/>
              </a:ext>
            </a:extLst>
          </p:cNvPr>
          <p:cNvSpPr/>
          <p:nvPr/>
        </p:nvSpPr>
        <p:spPr>
          <a:xfrm>
            <a:off x="5483211" y="3260451"/>
            <a:ext cx="457200" cy="457200"/>
          </a:xfrm>
          <a:custGeom>
            <a:avLst/>
            <a:gdLst>
              <a:gd name="connsiteX0" fmla="*/ 903558 w 1816431"/>
              <a:gd name="connsiteY0" fmla="*/ 1811542 h 1816473"/>
              <a:gd name="connsiteX1" fmla="*/ 854978 w 1816431"/>
              <a:gd name="connsiteY1" fmla="*/ 1779430 h 1816473"/>
              <a:gd name="connsiteX2" fmla="*/ 846956 w 1816431"/>
              <a:gd name="connsiteY2" fmla="*/ 1770882 h 1816473"/>
              <a:gd name="connsiteX3" fmla="*/ 832466 w 1816431"/>
              <a:gd name="connsiteY3" fmla="*/ 1778252 h 1816473"/>
              <a:gd name="connsiteX4" fmla="*/ 795893 w 1816431"/>
              <a:gd name="connsiteY4" fmla="*/ 1785847 h 1816473"/>
              <a:gd name="connsiteX5" fmla="*/ 707780 w 1816431"/>
              <a:gd name="connsiteY5" fmla="*/ 1718490 h 1816473"/>
              <a:gd name="connsiteX6" fmla="*/ 693190 w 1816431"/>
              <a:gd name="connsiteY6" fmla="*/ 1698386 h 1816473"/>
              <a:gd name="connsiteX7" fmla="*/ 636763 w 1816431"/>
              <a:gd name="connsiteY7" fmla="*/ 1665547 h 1816473"/>
              <a:gd name="connsiteX8" fmla="*/ 617285 w 1816431"/>
              <a:gd name="connsiteY8" fmla="*/ 1620726 h 1816473"/>
              <a:gd name="connsiteX9" fmla="*/ 599838 w 1816431"/>
              <a:gd name="connsiteY9" fmla="*/ 1608443 h 1816473"/>
              <a:gd name="connsiteX10" fmla="*/ 531278 w 1816431"/>
              <a:gd name="connsiteY10" fmla="*/ 1540635 h 1816473"/>
              <a:gd name="connsiteX11" fmla="*/ 519120 w 1816431"/>
              <a:gd name="connsiteY11" fmla="*/ 1522210 h 1816473"/>
              <a:gd name="connsiteX12" fmla="*/ 456075 w 1816431"/>
              <a:gd name="connsiteY12" fmla="*/ 1482879 h 1816473"/>
              <a:gd name="connsiteX13" fmla="*/ 442739 w 1816431"/>
              <a:gd name="connsiteY13" fmla="*/ 1451143 h 1816473"/>
              <a:gd name="connsiteX14" fmla="*/ 438653 w 1816431"/>
              <a:gd name="connsiteY14" fmla="*/ 1433345 h 1816473"/>
              <a:gd name="connsiteX15" fmla="*/ 397592 w 1816431"/>
              <a:gd name="connsiteY15" fmla="*/ 1409480 h 1816473"/>
              <a:gd name="connsiteX16" fmla="*/ 353147 w 1816431"/>
              <a:gd name="connsiteY16" fmla="*/ 1385641 h 1816473"/>
              <a:gd name="connsiteX17" fmla="*/ 347682 w 1816431"/>
              <a:gd name="connsiteY17" fmla="*/ 1394490 h 1816473"/>
              <a:gd name="connsiteX18" fmla="*/ 315570 w 1816431"/>
              <a:gd name="connsiteY18" fmla="*/ 1404317 h 1816473"/>
              <a:gd name="connsiteX19" fmla="*/ 285589 w 1816431"/>
              <a:gd name="connsiteY19" fmla="*/ 1405294 h 1816473"/>
              <a:gd name="connsiteX20" fmla="*/ 143681 w 1816431"/>
              <a:gd name="connsiteY20" fmla="*/ 1357916 h 1816473"/>
              <a:gd name="connsiteX21" fmla="*/ 1773 w 1816431"/>
              <a:gd name="connsiteY21" fmla="*/ 1310538 h 1816473"/>
              <a:gd name="connsiteX22" fmla="*/ 870 w 1816431"/>
              <a:gd name="connsiteY22" fmla="*/ 1006617 h 1816473"/>
              <a:gd name="connsiteX23" fmla="*/ -57 w 1816431"/>
              <a:gd name="connsiteY23" fmla="*/ 702721 h 1816473"/>
              <a:gd name="connsiteX24" fmla="*/ 47045 w 1816431"/>
              <a:gd name="connsiteY24" fmla="*/ 702721 h 1816473"/>
              <a:gd name="connsiteX25" fmla="*/ 94172 w 1816431"/>
              <a:gd name="connsiteY25" fmla="*/ 702721 h 1816473"/>
              <a:gd name="connsiteX26" fmla="*/ 167771 w 1816431"/>
              <a:gd name="connsiteY26" fmla="*/ 745612 h 1816473"/>
              <a:gd name="connsiteX27" fmla="*/ 241370 w 1816431"/>
              <a:gd name="connsiteY27" fmla="*/ 788528 h 1816473"/>
              <a:gd name="connsiteX28" fmla="*/ 282105 w 1816431"/>
              <a:gd name="connsiteY28" fmla="*/ 778576 h 1816473"/>
              <a:gd name="connsiteX29" fmla="*/ 322815 w 1816431"/>
              <a:gd name="connsiteY29" fmla="*/ 762683 h 1816473"/>
              <a:gd name="connsiteX30" fmla="*/ 296795 w 1816431"/>
              <a:gd name="connsiteY30" fmla="*/ 730597 h 1816473"/>
              <a:gd name="connsiteX31" fmla="*/ 239089 w 1816431"/>
              <a:gd name="connsiteY31" fmla="*/ 624663 h 1816473"/>
              <a:gd name="connsiteX32" fmla="*/ 244253 w 1816431"/>
              <a:gd name="connsiteY32" fmla="*/ 464764 h 1816473"/>
              <a:gd name="connsiteX33" fmla="*/ 423036 w 1816431"/>
              <a:gd name="connsiteY33" fmla="*/ 324151 h 1816473"/>
              <a:gd name="connsiteX34" fmla="*/ 447000 w 1816431"/>
              <a:gd name="connsiteY34" fmla="*/ 319612 h 1816473"/>
              <a:gd name="connsiteX35" fmla="*/ 432461 w 1816431"/>
              <a:gd name="connsiteY35" fmla="*/ 282346 h 1816473"/>
              <a:gd name="connsiteX36" fmla="*/ 417922 w 1816431"/>
              <a:gd name="connsiteY36" fmla="*/ 247554 h 1816473"/>
              <a:gd name="connsiteX37" fmla="*/ 495431 w 1816431"/>
              <a:gd name="connsiteY37" fmla="*/ 170105 h 1816473"/>
              <a:gd name="connsiteX38" fmla="*/ 572940 w 1816431"/>
              <a:gd name="connsiteY38" fmla="*/ 92653 h 1816473"/>
              <a:gd name="connsiteX39" fmla="*/ 618388 w 1816431"/>
              <a:gd name="connsiteY39" fmla="*/ 122675 h 1816473"/>
              <a:gd name="connsiteX40" fmla="*/ 663836 w 1816431"/>
              <a:gd name="connsiteY40" fmla="*/ 152693 h 1816473"/>
              <a:gd name="connsiteX41" fmla="*/ 687575 w 1816431"/>
              <a:gd name="connsiteY41" fmla="*/ 140761 h 1816473"/>
              <a:gd name="connsiteX42" fmla="*/ 739666 w 1816431"/>
              <a:gd name="connsiteY42" fmla="*/ 119002 h 1816473"/>
              <a:gd name="connsiteX43" fmla="*/ 772028 w 1816431"/>
              <a:gd name="connsiteY43" fmla="*/ 105280 h 1816473"/>
              <a:gd name="connsiteX44" fmla="*/ 786166 w 1816431"/>
              <a:gd name="connsiteY44" fmla="*/ 50833 h 1816473"/>
              <a:gd name="connsiteX45" fmla="*/ 796344 w 1816431"/>
              <a:gd name="connsiteY45" fmla="*/ 279 h 1816473"/>
              <a:gd name="connsiteX46" fmla="*/ 908196 w 1816431"/>
              <a:gd name="connsiteY46" fmla="*/ 279 h 1816473"/>
              <a:gd name="connsiteX47" fmla="*/ 1020023 w 1816431"/>
              <a:gd name="connsiteY47" fmla="*/ 279 h 1816473"/>
              <a:gd name="connsiteX48" fmla="*/ 1030201 w 1816431"/>
              <a:gd name="connsiteY48" fmla="*/ 50833 h 1816473"/>
              <a:gd name="connsiteX49" fmla="*/ 1044339 w 1816431"/>
              <a:gd name="connsiteY49" fmla="*/ 105280 h 1816473"/>
              <a:gd name="connsiteX50" fmla="*/ 1076701 w 1816431"/>
              <a:gd name="connsiteY50" fmla="*/ 119002 h 1816473"/>
              <a:gd name="connsiteX51" fmla="*/ 1128792 w 1816431"/>
              <a:gd name="connsiteY51" fmla="*/ 140761 h 1816473"/>
              <a:gd name="connsiteX52" fmla="*/ 1152531 w 1816431"/>
              <a:gd name="connsiteY52" fmla="*/ 152693 h 1816473"/>
              <a:gd name="connsiteX53" fmla="*/ 1197979 w 1816431"/>
              <a:gd name="connsiteY53" fmla="*/ 122675 h 1816473"/>
              <a:gd name="connsiteX54" fmla="*/ 1243426 w 1816431"/>
              <a:gd name="connsiteY54" fmla="*/ 92653 h 1816473"/>
              <a:gd name="connsiteX55" fmla="*/ 1320986 w 1816431"/>
              <a:gd name="connsiteY55" fmla="*/ 170158 h 1816473"/>
              <a:gd name="connsiteX56" fmla="*/ 1398546 w 1816431"/>
              <a:gd name="connsiteY56" fmla="*/ 247660 h 1816473"/>
              <a:gd name="connsiteX57" fmla="*/ 1382578 w 1816431"/>
              <a:gd name="connsiteY57" fmla="*/ 285387 h 1816473"/>
              <a:gd name="connsiteX58" fmla="*/ 1366584 w 1816431"/>
              <a:gd name="connsiteY58" fmla="*/ 323113 h 1816473"/>
              <a:gd name="connsiteX59" fmla="*/ 1383054 w 1816431"/>
              <a:gd name="connsiteY59" fmla="*/ 323166 h 1816473"/>
              <a:gd name="connsiteX60" fmla="*/ 1557300 w 1816431"/>
              <a:gd name="connsiteY60" fmla="*/ 437525 h 1816473"/>
              <a:gd name="connsiteX61" fmla="*/ 1582116 w 1816431"/>
              <a:gd name="connsiteY61" fmla="*/ 559033 h 1816473"/>
              <a:gd name="connsiteX62" fmla="*/ 1519573 w 1816431"/>
              <a:gd name="connsiteY62" fmla="*/ 730597 h 1816473"/>
              <a:gd name="connsiteX63" fmla="*/ 1493552 w 1816431"/>
              <a:gd name="connsiteY63" fmla="*/ 762633 h 1816473"/>
              <a:gd name="connsiteX64" fmla="*/ 1556522 w 1816431"/>
              <a:gd name="connsiteY64" fmla="*/ 783966 h 1816473"/>
              <a:gd name="connsiteX65" fmla="*/ 1636213 w 1816431"/>
              <a:gd name="connsiteY65" fmla="*/ 806427 h 1816473"/>
              <a:gd name="connsiteX66" fmla="*/ 1652933 w 1816431"/>
              <a:gd name="connsiteY66" fmla="*/ 813446 h 1816473"/>
              <a:gd name="connsiteX67" fmla="*/ 1700862 w 1816431"/>
              <a:gd name="connsiteY67" fmla="*/ 788227 h 1816473"/>
              <a:gd name="connsiteX68" fmla="*/ 1748767 w 1816431"/>
              <a:gd name="connsiteY68" fmla="*/ 763009 h 1816473"/>
              <a:gd name="connsiteX69" fmla="*/ 1782583 w 1816431"/>
              <a:gd name="connsiteY69" fmla="*/ 763009 h 1816473"/>
              <a:gd name="connsiteX70" fmla="*/ 1816374 w 1816431"/>
              <a:gd name="connsiteY70" fmla="*/ 763009 h 1816473"/>
              <a:gd name="connsiteX71" fmla="*/ 1816374 w 1816431"/>
              <a:gd name="connsiteY71" fmla="*/ 976787 h 1816473"/>
              <a:gd name="connsiteX72" fmla="*/ 1816374 w 1816431"/>
              <a:gd name="connsiteY72" fmla="*/ 1190539 h 1816473"/>
              <a:gd name="connsiteX73" fmla="*/ 1552085 w 1816431"/>
              <a:gd name="connsiteY73" fmla="*/ 1322671 h 1816473"/>
              <a:gd name="connsiteX74" fmla="*/ 1287772 w 1816431"/>
              <a:gd name="connsiteY74" fmla="*/ 1454803 h 1816473"/>
              <a:gd name="connsiteX75" fmla="*/ 1287772 w 1816431"/>
              <a:gd name="connsiteY75" fmla="*/ 1466334 h 1816473"/>
              <a:gd name="connsiteX76" fmla="*/ 1266038 w 1816431"/>
              <a:gd name="connsiteY76" fmla="*/ 1520104 h 1816473"/>
              <a:gd name="connsiteX77" fmla="*/ 1215752 w 1816431"/>
              <a:gd name="connsiteY77" fmla="*/ 1550035 h 1816473"/>
              <a:gd name="connsiteX78" fmla="*/ 1198531 w 1816431"/>
              <a:gd name="connsiteY78" fmla="*/ 1567257 h 1816473"/>
              <a:gd name="connsiteX79" fmla="*/ 1190559 w 1816431"/>
              <a:gd name="connsiteY79" fmla="*/ 1592525 h 1816473"/>
              <a:gd name="connsiteX80" fmla="*/ 1123778 w 1816431"/>
              <a:gd name="connsiteY80" fmla="*/ 1639201 h 1816473"/>
              <a:gd name="connsiteX81" fmla="*/ 1111997 w 1816431"/>
              <a:gd name="connsiteY81" fmla="*/ 1649053 h 1816473"/>
              <a:gd name="connsiteX82" fmla="*/ 1085224 w 1816431"/>
              <a:gd name="connsiteY82" fmla="*/ 1702648 h 1816473"/>
              <a:gd name="connsiteX83" fmla="*/ 1032331 w 1816431"/>
              <a:gd name="connsiteY83" fmla="*/ 1727966 h 1816473"/>
              <a:gd name="connsiteX84" fmla="*/ 1022380 w 1816431"/>
              <a:gd name="connsiteY84" fmla="*/ 1745689 h 1816473"/>
              <a:gd name="connsiteX85" fmla="*/ 903558 w 1816431"/>
              <a:gd name="connsiteY85" fmla="*/ 1811542 h 1816473"/>
              <a:gd name="connsiteX86" fmla="*/ 956978 w 1816431"/>
              <a:gd name="connsiteY86" fmla="*/ 1748170 h 1816473"/>
              <a:gd name="connsiteX87" fmla="*/ 964949 w 1816431"/>
              <a:gd name="connsiteY87" fmla="*/ 1727490 h 1816473"/>
              <a:gd name="connsiteX88" fmla="*/ 948104 w 1816431"/>
              <a:gd name="connsiteY88" fmla="*/ 1697759 h 1816473"/>
              <a:gd name="connsiteX89" fmla="*/ 931259 w 1816431"/>
              <a:gd name="connsiteY89" fmla="*/ 1681491 h 1816473"/>
              <a:gd name="connsiteX90" fmla="*/ 924139 w 1816431"/>
              <a:gd name="connsiteY90" fmla="*/ 1691242 h 1816473"/>
              <a:gd name="connsiteX91" fmla="*/ 902932 w 1816431"/>
              <a:gd name="connsiteY91" fmla="*/ 1716661 h 1816473"/>
              <a:gd name="connsiteX92" fmla="*/ 888819 w 1816431"/>
              <a:gd name="connsiteY92" fmla="*/ 1732303 h 1816473"/>
              <a:gd name="connsiteX93" fmla="*/ 899397 w 1816431"/>
              <a:gd name="connsiteY93" fmla="*/ 1741076 h 1816473"/>
              <a:gd name="connsiteX94" fmla="*/ 956978 w 1816431"/>
              <a:gd name="connsiteY94" fmla="*/ 1748170 h 1816473"/>
              <a:gd name="connsiteX95" fmla="*/ 838783 w 1816431"/>
              <a:gd name="connsiteY95" fmla="*/ 1699414 h 1816473"/>
              <a:gd name="connsiteX96" fmla="*/ 869642 w 1816431"/>
              <a:gd name="connsiteY96" fmla="*/ 1623809 h 1816473"/>
              <a:gd name="connsiteX97" fmla="*/ 793235 w 1816431"/>
              <a:gd name="connsiteY97" fmla="*/ 1649955 h 1816473"/>
              <a:gd name="connsiteX98" fmla="*/ 762728 w 1816431"/>
              <a:gd name="connsiteY98" fmla="*/ 1695453 h 1816473"/>
              <a:gd name="connsiteX99" fmla="*/ 795241 w 1816431"/>
              <a:gd name="connsiteY99" fmla="*/ 1727966 h 1816473"/>
              <a:gd name="connsiteX100" fmla="*/ 838783 w 1816431"/>
              <a:gd name="connsiteY100" fmla="*/ 1699414 h 1816473"/>
              <a:gd name="connsiteX101" fmla="*/ 1045667 w 1816431"/>
              <a:gd name="connsiteY101" fmla="*/ 1659681 h 1816473"/>
              <a:gd name="connsiteX102" fmla="*/ 1048701 w 1816431"/>
              <a:gd name="connsiteY102" fmla="*/ 1623158 h 1816473"/>
              <a:gd name="connsiteX103" fmla="*/ 967105 w 1816431"/>
              <a:gd name="connsiteY103" fmla="*/ 1552392 h 1816473"/>
              <a:gd name="connsiteX104" fmla="*/ 890524 w 1816431"/>
              <a:gd name="connsiteY104" fmla="*/ 1486814 h 1816473"/>
              <a:gd name="connsiteX105" fmla="*/ 909249 w 1816431"/>
              <a:gd name="connsiteY105" fmla="*/ 1464153 h 1816473"/>
              <a:gd name="connsiteX106" fmla="*/ 927874 w 1816431"/>
              <a:gd name="connsiteY106" fmla="*/ 1443322 h 1816473"/>
              <a:gd name="connsiteX107" fmla="*/ 1004055 w 1816431"/>
              <a:gd name="connsiteY107" fmla="*/ 1506869 h 1816473"/>
              <a:gd name="connsiteX108" fmla="*/ 1109690 w 1816431"/>
              <a:gd name="connsiteY108" fmla="*/ 1582523 h 1816473"/>
              <a:gd name="connsiteX109" fmla="*/ 1142303 w 1816431"/>
              <a:gd name="connsiteY109" fmla="*/ 1553520 h 1816473"/>
              <a:gd name="connsiteX110" fmla="*/ 1054516 w 1816431"/>
              <a:gd name="connsiteY110" fmla="*/ 1463552 h 1816473"/>
              <a:gd name="connsiteX111" fmla="*/ 979238 w 1816431"/>
              <a:gd name="connsiteY111" fmla="*/ 1398626 h 1816473"/>
              <a:gd name="connsiteX112" fmla="*/ 997863 w 1816431"/>
              <a:gd name="connsiteY112" fmla="*/ 1376015 h 1816473"/>
              <a:gd name="connsiteX113" fmla="*/ 1016388 w 1816431"/>
              <a:gd name="connsiteY113" fmla="*/ 1355736 h 1816473"/>
              <a:gd name="connsiteX114" fmla="*/ 1098962 w 1816431"/>
              <a:gd name="connsiteY114" fmla="*/ 1424797 h 1816473"/>
              <a:gd name="connsiteX115" fmla="*/ 1195447 w 1816431"/>
              <a:gd name="connsiteY115" fmla="*/ 1493833 h 1816473"/>
              <a:gd name="connsiteX116" fmla="*/ 1223297 w 1816431"/>
              <a:gd name="connsiteY116" fmla="*/ 1445227 h 1816473"/>
              <a:gd name="connsiteX117" fmla="*/ 958708 w 1816431"/>
              <a:gd name="connsiteY117" fmla="*/ 1208738 h 1816473"/>
              <a:gd name="connsiteX118" fmla="*/ 927849 w 1816431"/>
              <a:gd name="connsiteY118" fmla="*/ 1203650 h 1816473"/>
              <a:gd name="connsiteX119" fmla="*/ 852245 w 1816431"/>
              <a:gd name="connsiteY119" fmla="*/ 1239672 h 1816473"/>
              <a:gd name="connsiteX120" fmla="*/ 738312 w 1816431"/>
              <a:gd name="connsiteY120" fmla="*/ 1287376 h 1816473"/>
              <a:gd name="connsiteX121" fmla="*/ 654411 w 1816431"/>
              <a:gd name="connsiteY121" fmla="*/ 1232954 h 1816473"/>
              <a:gd name="connsiteX122" fmla="*/ 653759 w 1816431"/>
              <a:gd name="connsiteY122" fmla="*/ 1143562 h 1816473"/>
              <a:gd name="connsiteX123" fmla="*/ 763756 w 1816431"/>
              <a:gd name="connsiteY123" fmla="*/ 1065827 h 1816473"/>
              <a:gd name="connsiteX124" fmla="*/ 843822 w 1816431"/>
              <a:gd name="connsiteY124" fmla="*/ 1023939 h 1816473"/>
              <a:gd name="connsiteX125" fmla="*/ 801759 w 1816431"/>
              <a:gd name="connsiteY125" fmla="*/ 1010879 h 1816473"/>
              <a:gd name="connsiteX126" fmla="*/ 709509 w 1816431"/>
              <a:gd name="connsiteY126" fmla="*/ 999172 h 1816473"/>
              <a:gd name="connsiteX127" fmla="*/ 553764 w 1816431"/>
              <a:gd name="connsiteY127" fmla="*/ 1023062 h 1816473"/>
              <a:gd name="connsiteX128" fmla="*/ 447777 w 1816431"/>
              <a:gd name="connsiteY128" fmla="*/ 1048405 h 1816473"/>
              <a:gd name="connsiteX129" fmla="*/ 369140 w 1816431"/>
              <a:gd name="connsiteY129" fmla="*/ 1321769 h 1816473"/>
              <a:gd name="connsiteX130" fmla="*/ 412783 w 1816431"/>
              <a:gd name="connsiteY130" fmla="*/ 1351098 h 1816473"/>
              <a:gd name="connsiteX131" fmla="*/ 456476 w 1816431"/>
              <a:gd name="connsiteY131" fmla="*/ 1376867 h 1816473"/>
              <a:gd name="connsiteX132" fmla="*/ 491972 w 1816431"/>
              <a:gd name="connsiteY132" fmla="*/ 1341397 h 1816473"/>
              <a:gd name="connsiteX133" fmla="*/ 582366 w 1816431"/>
              <a:gd name="connsiteY133" fmla="*/ 1290910 h 1816473"/>
              <a:gd name="connsiteX134" fmla="*/ 671983 w 1816431"/>
              <a:gd name="connsiteY134" fmla="*/ 1366765 h 1816473"/>
              <a:gd name="connsiteX135" fmla="*/ 692890 w 1816431"/>
              <a:gd name="connsiteY135" fmla="*/ 1381731 h 1816473"/>
              <a:gd name="connsiteX136" fmla="*/ 726129 w 1816431"/>
              <a:gd name="connsiteY136" fmla="*/ 1397624 h 1816473"/>
              <a:gd name="connsiteX137" fmla="*/ 759194 w 1816431"/>
              <a:gd name="connsiteY137" fmla="*/ 1454903 h 1816473"/>
              <a:gd name="connsiteX138" fmla="*/ 776891 w 1816431"/>
              <a:gd name="connsiteY138" fmla="*/ 1468314 h 1816473"/>
              <a:gd name="connsiteX139" fmla="*/ 847883 w 1816431"/>
              <a:gd name="connsiteY139" fmla="*/ 1545498 h 1816473"/>
              <a:gd name="connsiteX140" fmla="*/ 855855 w 1816431"/>
              <a:gd name="connsiteY140" fmla="*/ 1554171 h 1816473"/>
              <a:gd name="connsiteX141" fmla="*/ 922384 w 1816431"/>
              <a:gd name="connsiteY141" fmla="*/ 1596736 h 1816473"/>
              <a:gd name="connsiteX142" fmla="*/ 995106 w 1816431"/>
              <a:gd name="connsiteY142" fmla="*/ 1659456 h 1816473"/>
              <a:gd name="connsiteX143" fmla="*/ 1045667 w 1816431"/>
              <a:gd name="connsiteY143" fmla="*/ 1659681 h 1816473"/>
              <a:gd name="connsiteX144" fmla="*/ 752275 w 1816431"/>
              <a:gd name="connsiteY144" fmla="*/ 1608769 h 1816473"/>
              <a:gd name="connsiteX145" fmla="*/ 787696 w 1816431"/>
              <a:gd name="connsiteY145" fmla="*/ 1568034 h 1816473"/>
              <a:gd name="connsiteX146" fmla="*/ 746183 w 1816431"/>
              <a:gd name="connsiteY146" fmla="*/ 1527650 h 1816473"/>
              <a:gd name="connsiteX147" fmla="*/ 705098 w 1816431"/>
              <a:gd name="connsiteY147" fmla="*/ 1563898 h 1816473"/>
              <a:gd name="connsiteX148" fmla="*/ 678175 w 1816431"/>
              <a:gd name="connsiteY148" fmla="*/ 1622657 h 1816473"/>
              <a:gd name="connsiteX149" fmla="*/ 707329 w 1816431"/>
              <a:gd name="connsiteY149" fmla="*/ 1639176 h 1816473"/>
              <a:gd name="connsiteX150" fmla="*/ 752275 w 1816431"/>
              <a:gd name="connsiteY150" fmla="*/ 1608769 h 1816473"/>
              <a:gd name="connsiteX151" fmla="*/ 667847 w 1816431"/>
              <a:gd name="connsiteY151" fmla="*/ 1515517 h 1816473"/>
              <a:gd name="connsiteX152" fmla="*/ 702415 w 1816431"/>
              <a:gd name="connsiteY152" fmla="*/ 1468264 h 1816473"/>
              <a:gd name="connsiteX153" fmla="*/ 669928 w 1816431"/>
              <a:gd name="connsiteY153" fmla="*/ 1437080 h 1816473"/>
              <a:gd name="connsiteX154" fmla="*/ 625758 w 1816431"/>
              <a:gd name="connsiteY154" fmla="*/ 1466259 h 1816473"/>
              <a:gd name="connsiteX155" fmla="*/ 590137 w 1816431"/>
              <a:gd name="connsiteY155" fmla="*/ 1505540 h 1816473"/>
              <a:gd name="connsiteX156" fmla="*/ 597056 w 1816431"/>
              <a:gd name="connsiteY156" fmla="*/ 1542615 h 1816473"/>
              <a:gd name="connsiteX157" fmla="*/ 667847 w 1816431"/>
              <a:gd name="connsiteY157" fmla="*/ 1515517 h 1816473"/>
              <a:gd name="connsiteX158" fmla="*/ 545617 w 1816431"/>
              <a:gd name="connsiteY158" fmla="*/ 1460468 h 1816473"/>
              <a:gd name="connsiteX159" fmla="*/ 584472 w 1816431"/>
              <a:gd name="connsiteY159" fmla="*/ 1425424 h 1816473"/>
              <a:gd name="connsiteX160" fmla="*/ 613726 w 1816431"/>
              <a:gd name="connsiteY160" fmla="*/ 1381405 h 1816473"/>
              <a:gd name="connsiteX161" fmla="*/ 573818 w 1816431"/>
              <a:gd name="connsiteY161" fmla="*/ 1349644 h 1816473"/>
              <a:gd name="connsiteX162" fmla="*/ 532807 w 1816431"/>
              <a:gd name="connsiteY162" fmla="*/ 1384914 h 1816473"/>
              <a:gd name="connsiteX163" fmla="*/ 499442 w 1816431"/>
              <a:gd name="connsiteY163" fmla="*/ 1429485 h 1816473"/>
              <a:gd name="connsiteX164" fmla="*/ 545617 w 1816431"/>
              <a:gd name="connsiteY164" fmla="*/ 1460468 h 1816473"/>
              <a:gd name="connsiteX165" fmla="*/ 1759621 w 1816431"/>
              <a:gd name="connsiteY165" fmla="*/ 990073 h 1816473"/>
              <a:gd name="connsiteX166" fmla="*/ 1756212 w 1816431"/>
              <a:gd name="connsiteY166" fmla="*/ 826882 h 1816473"/>
              <a:gd name="connsiteX167" fmla="*/ 1478988 w 1816431"/>
              <a:gd name="connsiteY167" fmla="*/ 971021 h 1816473"/>
              <a:gd name="connsiteX168" fmla="*/ 1205174 w 1816431"/>
              <a:gd name="connsiteY168" fmla="*/ 1115186 h 1816473"/>
              <a:gd name="connsiteX169" fmla="*/ 1181735 w 1816431"/>
              <a:gd name="connsiteY169" fmla="*/ 1113080 h 1816473"/>
              <a:gd name="connsiteX170" fmla="*/ 1066048 w 1816431"/>
              <a:gd name="connsiteY170" fmla="*/ 1084578 h 1816473"/>
              <a:gd name="connsiteX171" fmla="*/ 923638 w 1816431"/>
              <a:gd name="connsiteY171" fmla="*/ 1057154 h 1816473"/>
              <a:gd name="connsiteX172" fmla="*/ 710512 w 1816431"/>
              <a:gd name="connsiteY172" fmla="*/ 1162814 h 1816473"/>
              <a:gd name="connsiteX173" fmla="*/ 709159 w 1816431"/>
              <a:gd name="connsiteY173" fmla="*/ 1211095 h 1816473"/>
              <a:gd name="connsiteX174" fmla="*/ 748214 w 1816431"/>
              <a:gd name="connsiteY174" fmla="*/ 1230121 h 1816473"/>
              <a:gd name="connsiteX175" fmla="*/ 820058 w 1816431"/>
              <a:gd name="connsiteY175" fmla="*/ 1190990 h 1816473"/>
              <a:gd name="connsiteX176" fmla="*/ 943366 w 1816431"/>
              <a:gd name="connsiteY176" fmla="*/ 1144013 h 1816473"/>
              <a:gd name="connsiteX177" fmla="*/ 1135134 w 1816431"/>
              <a:gd name="connsiteY177" fmla="*/ 1284117 h 1816473"/>
              <a:gd name="connsiteX178" fmla="*/ 1264509 w 1816431"/>
              <a:gd name="connsiteY178" fmla="*/ 1400832 h 1816473"/>
              <a:gd name="connsiteX179" fmla="*/ 1512052 w 1816431"/>
              <a:gd name="connsiteY179" fmla="*/ 1277048 h 1816473"/>
              <a:gd name="connsiteX180" fmla="*/ 1759621 w 1816431"/>
              <a:gd name="connsiteY180" fmla="*/ 1153238 h 1816473"/>
              <a:gd name="connsiteX181" fmla="*/ 355954 w 1816431"/>
              <a:gd name="connsiteY181" fmla="*/ 1152712 h 1816473"/>
              <a:gd name="connsiteX182" fmla="*/ 409023 w 1816431"/>
              <a:gd name="connsiteY182" fmla="*/ 954502 h 1816473"/>
              <a:gd name="connsiteX183" fmla="*/ 375056 w 1816431"/>
              <a:gd name="connsiteY183" fmla="*/ 933771 h 1816473"/>
              <a:gd name="connsiteX184" fmla="*/ 342342 w 1816431"/>
              <a:gd name="connsiteY184" fmla="*/ 920008 h 1816473"/>
              <a:gd name="connsiteX185" fmla="*/ 241245 w 1816431"/>
              <a:gd name="connsiteY185" fmla="*/ 1326331 h 1816473"/>
              <a:gd name="connsiteX186" fmla="*/ 298148 w 1816431"/>
              <a:gd name="connsiteY186" fmla="*/ 1348065 h 1816473"/>
              <a:gd name="connsiteX187" fmla="*/ 355954 w 1816431"/>
              <a:gd name="connsiteY187" fmla="*/ 1152712 h 1816473"/>
              <a:gd name="connsiteX188" fmla="*/ 187725 w 1816431"/>
              <a:gd name="connsiteY188" fmla="*/ 1296049 h 1816473"/>
              <a:gd name="connsiteX189" fmla="*/ 239440 w 1816431"/>
              <a:gd name="connsiteY189" fmla="*/ 1089391 h 1816473"/>
              <a:gd name="connsiteX190" fmla="*/ 289324 w 1816431"/>
              <a:gd name="connsiteY190" fmla="*/ 890428 h 1816473"/>
              <a:gd name="connsiteX191" fmla="*/ 69355 w 1816431"/>
              <a:gd name="connsiteY191" fmla="*/ 763009 h 1816473"/>
              <a:gd name="connsiteX192" fmla="*/ 56696 w 1816431"/>
              <a:gd name="connsiteY192" fmla="*/ 763009 h 1816473"/>
              <a:gd name="connsiteX193" fmla="*/ 57624 w 1816431"/>
              <a:gd name="connsiteY193" fmla="*/ 1015491 h 1816473"/>
              <a:gd name="connsiteX194" fmla="*/ 58526 w 1816431"/>
              <a:gd name="connsiteY194" fmla="*/ 1267973 h 1816473"/>
              <a:gd name="connsiteX195" fmla="*/ 118839 w 1816431"/>
              <a:gd name="connsiteY195" fmla="*/ 1288378 h 1816473"/>
              <a:gd name="connsiteX196" fmla="*/ 181684 w 1816431"/>
              <a:gd name="connsiteY196" fmla="*/ 1309084 h 1816473"/>
              <a:gd name="connsiteX197" fmla="*/ 187700 w 1816431"/>
              <a:gd name="connsiteY197" fmla="*/ 1296049 h 1816473"/>
              <a:gd name="connsiteX198" fmla="*/ 1201839 w 1816431"/>
              <a:gd name="connsiteY198" fmla="*/ 999373 h 1816473"/>
              <a:gd name="connsiteX199" fmla="*/ 1186598 w 1816431"/>
              <a:gd name="connsiteY199" fmla="*/ 893512 h 1816473"/>
              <a:gd name="connsiteX200" fmla="*/ 1059003 w 1816431"/>
              <a:gd name="connsiteY200" fmla="*/ 837109 h 1816473"/>
              <a:gd name="connsiteX201" fmla="*/ 968509 w 1816431"/>
              <a:gd name="connsiteY201" fmla="*/ 814599 h 1816473"/>
              <a:gd name="connsiteX202" fmla="*/ 968509 w 1816431"/>
              <a:gd name="connsiteY202" fmla="*/ 767897 h 1816473"/>
              <a:gd name="connsiteX203" fmla="*/ 968509 w 1816431"/>
              <a:gd name="connsiteY203" fmla="*/ 721196 h 1816473"/>
              <a:gd name="connsiteX204" fmla="*/ 986056 w 1816431"/>
              <a:gd name="connsiteY204" fmla="*/ 709916 h 1816473"/>
              <a:gd name="connsiteX205" fmla="*/ 1040729 w 1816431"/>
              <a:gd name="connsiteY205" fmla="*/ 646387 h 1816473"/>
              <a:gd name="connsiteX206" fmla="*/ 1053088 w 1816431"/>
              <a:gd name="connsiteY206" fmla="*/ 568311 h 1816473"/>
              <a:gd name="connsiteX207" fmla="*/ 1034964 w 1816431"/>
              <a:gd name="connsiteY207" fmla="*/ 460680 h 1816473"/>
              <a:gd name="connsiteX208" fmla="*/ 926571 w 1816431"/>
              <a:gd name="connsiteY208" fmla="*/ 382441 h 1816473"/>
              <a:gd name="connsiteX209" fmla="*/ 785840 w 1816431"/>
              <a:gd name="connsiteY209" fmla="*/ 448863 h 1816473"/>
              <a:gd name="connsiteX210" fmla="*/ 763330 w 1816431"/>
              <a:gd name="connsiteY210" fmla="*/ 563508 h 1816473"/>
              <a:gd name="connsiteX211" fmla="*/ 775638 w 1816431"/>
              <a:gd name="connsiteY211" fmla="*/ 646387 h 1816473"/>
              <a:gd name="connsiteX212" fmla="*/ 830336 w 1816431"/>
              <a:gd name="connsiteY212" fmla="*/ 709916 h 1816473"/>
              <a:gd name="connsiteX213" fmla="*/ 847883 w 1816431"/>
              <a:gd name="connsiteY213" fmla="*/ 721196 h 1816473"/>
              <a:gd name="connsiteX214" fmla="*/ 847883 w 1816431"/>
              <a:gd name="connsiteY214" fmla="*/ 767897 h 1816473"/>
              <a:gd name="connsiteX215" fmla="*/ 847883 w 1816431"/>
              <a:gd name="connsiteY215" fmla="*/ 814599 h 1816473"/>
              <a:gd name="connsiteX216" fmla="*/ 757389 w 1816431"/>
              <a:gd name="connsiteY216" fmla="*/ 837109 h 1816473"/>
              <a:gd name="connsiteX217" fmla="*/ 629819 w 1816431"/>
              <a:gd name="connsiteY217" fmla="*/ 893462 h 1816473"/>
              <a:gd name="connsiteX218" fmla="*/ 615556 w 1816431"/>
              <a:gd name="connsiteY218" fmla="*/ 947583 h 1816473"/>
              <a:gd name="connsiteX219" fmla="*/ 629569 w 1816431"/>
              <a:gd name="connsiteY219" fmla="*/ 947082 h 1816473"/>
              <a:gd name="connsiteX220" fmla="*/ 750320 w 1816431"/>
              <a:gd name="connsiteY220" fmla="*/ 941015 h 1816473"/>
              <a:gd name="connsiteX221" fmla="*/ 873452 w 1816431"/>
              <a:gd name="connsiteY221" fmla="*/ 972575 h 1816473"/>
              <a:gd name="connsiteX222" fmla="*/ 969236 w 1816431"/>
              <a:gd name="connsiteY222" fmla="*/ 998922 h 1816473"/>
              <a:gd name="connsiteX223" fmla="*/ 1083795 w 1816431"/>
              <a:gd name="connsiteY223" fmla="*/ 1028852 h 1816473"/>
              <a:gd name="connsiteX224" fmla="*/ 1184894 w 1816431"/>
              <a:gd name="connsiteY224" fmla="*/ 1052867 h 1816473"/>
              <a:gd name="connsiteX225" fmla="*/ 1200862 w 1816431"/>
              <a:gd name="connsiteY225" fmla="*/ 1052165 h 1816473"/>
              <a:gd name="connsiteX226" fmla="*/ 1423012 w 1816431"/>
              <a:gd name="connsiteY226" fmla="*/ 934899 h 1816473"/>
              <a:gd name="connsiteX227" fmla="*/ 1578582 w 1816431"/>
              <a:gd name="connsiteY227" fmla="*/ 851599 h 1816473"/>
              <a:gd name="connsiteX228" fmla="*/ 1507741 w 1816431"/>
              <a:gd name="connsiteY228" fmla="*/ 832196 h 1816473"/>
              <a:gd name="connsiteX229" fmla="*/ 1436774 w 1816431"/>
              <a:gd name="connsiteY229" fmla="*/ 814699 h 1816473"/>
              <a:gd name="connsiteX230" fmla="*/ 1436774 w 1816431"/>
              <a:gd name="connsiteY230" fmla="*/ 767872 h 1816473"/>
              <a:gd name="connsiteX231" fmla="*/ 1436774 w 1816431"/>
              <a:gd name="connsiteY231" fmla="*/ 721021 h 1816473"/>
              <a:gd name="connsiteX232" fmla="*/ 1450085 w 1816431"/>
              <a:gd name="connsiteY232" fmla="*/ 712824 h 1816473"/>
              <a:gd name="connsiteX233" fmla="*/ 1516489 w 1816431"/>
              <a:gd name="connsiteY233" fmla="*/ 629040 h 1816473"/>
              <a:gd name="connsiteX234" fmla="*/ 1521352 w 1816431"/>
              <a:gd name="connsiteY234" fmla="*/ 552563 h 1816473"/>
              <a:gd name="connsiteX235" fmla="*/ 1520149 w 1816431"/>
              <a:gd name="connsiteY235" fmla="*/ 494770 h 1816473"/>
              <a:gd name="connsiteX236" fmla="*/ 1506863 w 1816431"/>
              <a:gd name="connsiteY236" fmla="*/ 467920 h 1816473"/>
              <a:gd name="connsiteX237" fmla="*/ 1393482 w 1816431"/>
              <a:gd name="connsiteY237" fmla="*/ 382241 h 1816473"/>
              <a:gd name="connsiteX238" fmla="*/ 1313541 w 1816431"/>
              <a:gd name="connsiteY238" fmla="*/ 395770 h 1816473"/>
              <a:gd name="connsiteX239" fmla="*/ 1244179 w 1816431"/>
              <a:gd name="connsiteY239" fmla="*/ 467596 h 1816473"/>
              <a:gd name="connsiteX240" fmla="*/ 1232798 w 1816431"/>
              <a:gd name="connsiteY240" fmla="*/ 491629 h 1816473"/>
              <a:gd name="connsiteX241" fmla="*/ 1232798 w 1816431"/>
              <a:gd name="connsiteY241" fmla="*/ 557258 h 1816473"/>
              <a:gd name="connsiteX242" fmla="*/ 1232798 w 1816431"/>
              <a:gd name="connsiteY242" fmla="*/ 622891 h 1816473"/>
              <a:gd name="connsiteX243" fmla="*/ 1243878 w 1816431"/>
              <a:gd name="connsiteY243" fmla="*/ 645951 h 1816473"/>
              <a:gd name="connsiteX244" fmla="*/ 1300506 w 1816431"/>
              <a:gd name="connsiteY244" fmla="*/ 710618 h 1816473"/>
              <a:gd name="connsiteX245" fmla="*/ 1319908 w 1816431"/>
              <a:gd name="connsiteY245" fmla="*/ 722224 h 1816473"/>
              <a:gd name="connsiteX246" fmla="*/ 1318931 w 1816431"/>
              <a:gd name="connsiteY246" fmla="*/ 768123 h 1816473"/>
              <a:gd name="connsiteX247" fmla="*/ 1317953 w 1816431"/>
              <a:gd name="connsiteY247" fmla="*/ 814022 h 1816473"/>
              <a:gd name="connsiteX248" fmla="*/ 1270124 w 1816431"/>
              <a:gd name="connsiteY248" fmla="*/ 826004 h 1816473"/>
              <a:gd name="connsiteX249" fmla="*/ 1220966 w 1816431"/>
              <a:gd name="connsiteY249" fmla="*/ 839315 h 1816473"/>
              <a:gd name="connsiteX250" fmla="*/ 1230692 w 1816431"/>
              <a:gd name="connsiteY250" fmla="*/ 856036 h 1816473"/>
              <a:gd name="connsiteX251" fmla="*/ 1258643 w 1816431"/>
              <a:gd name="connsiteY251" fmla="*/ 964529 h 1816473"/>
              <a:gd name="connsiteX252" fmla="*/ 1263882 w 1816431"/>
              <a:gd name="connsiteY252" fmla="*/ 1017547 h 1816473"/>
              <a:gd name="connsiteX253" fmla="*/ 1423012 w 1816431"/>
              <a:gd name="connsiteY253" fmla="*/ 934899 h 1816473"/>
              <a:gd name="connsiteX254" fmla="*/ 518368 w 1816431"/>
              <a:gd name="connsiteY254" fmla="*/ 971848 h 1816473"/>
              <a:gd name="connsiteX255" fmla="*/ 556070 w 1816431"/>
              <a:gd name="connsiteY255" fmla="*/ 963777 h 1816473"/>
              <a:gd name="connsiteX256" fmla="*/ 557925 w 1816431"/>
              <a:gd name="connsiteY256" fmla="*/ 937004 h 1816473"/>
              <a:gd name="connsiteX257" fmla="*/ 585675 w 1816431"/>
              <a:gd name="connsiteY257" fmla="*/ 856036 h 1816473"/>
              <a:gd name="connsiteX258" fmla="*/ 595426 w 1816431"/>
              <a:gd name="connsiteY258" fmla="*/ 839315 h 1816473"/>
              <a:gd name="connsiteX259" fmla="*/ 546269 w 1816431"/>
              <a:gd name="connsiteY259" fmla="*/ 826004 h 1816473"/>
              <a:gd name="connsiteX260" fmla="*/ 498439 w 1816431"/>
              <a:gd name="connsiteY260" fmla="*/ 814022 h 1816473"/>
              <a:gd name="connsiteX261" fmla="*/ 497462 w 1816431"/>
              <a:gd name="connsiteY261" fmla="*/ 768098 h 1816473"/>
              <a:gd name="connsiteX262" fmla="*/ 496459 w 1816431"/>
              <a:gd name="connsiteY262" fmla="*/ 722174 h 1816473"/>
              <a:gd name="connsiteX263" fmla="*/ 509695 w 1816431"/>
              <a:gd name="connsiteY263" fmla="*/ 715105 h 1816473"/>
              <a:gd name="connsiteX264" fmla="*/ 571411 w 1816431"/>
              <a:gd name="connsiteY264" fmla="*/ 647801 h 1816473"/>
              <a:gd name="connsiteX265" fmla="*/ 584823 w 1816431"/>
              <a:gd name="connsiteY265" fmla="*/ 569271 h 1816473"/>
              <a:gd name="connsiteX266" fmla="*/ 542659 w 1816431"/>
              <a:gd name="connsiteY266" fmla="*/ 428325 h 1816473"/>
              <a:gd name="connsiteX267" fmla="*/ 340788 w 1816431"/>
              <a:gd name="connsiteY267" fmla="*/ 420802 h 1816473"/>
              <a:gd name="connsiteX268" fmla="*/ 294488 w 1816431"/>
              <a:gd name="connsiteY268" fmla="*/ 557589 h 1816473"/>
              <a:gd name="connsiteX269" fmla="*/ 301407 w 1816431"/>
              <a:gd name="connsiteY269" fmla="*/ 633116 h 1816473"/>
              <a:gd name="connsiteX270" fmla="*/ 362748 w 1816431"/>
              <a:gd name="connsiteY270" fmla="*/ 710367 h 1816473"/>
              <a:gd name="connsiteX271" fmla="*/ 379593 w 1816431"/>
              <a:gd name="connsiteY271" fmla="*/ 721196 h 1816473"/>
              <a:gd name="connsiteX272" fmla="*/ 379593 w 1816431"/>
              <a:gd name="connsiteY272" fmla="*/ 768073 h 1816473"/>
              <a:gd name="connsiteX273" fmla="*/ 379593 w 1816431"/>
              <a:gd name="connsiteY273" fmla="*/ 814950 h 1816473"/>
              <a:gd name="connsiteX274" fmla="*/ 352094 w 1816431"/>
              <a:gd name="connsiteY274" fmla="*/ 821342 h 1816473"/>
              <a:gd name="connsiteX275" fmla="*/ 320383 w 1816431"/>
              <a:gd name="connsiteY275" fmla="*/ 829990 h 1816473"/>
              <a:gd name="connsiteX276" fmla="*/ 392428 w 1816431"/>
              <a:gd name="connsiteY276" fmla="*/ 876566 h 1816473"/>
              <a:gd name="connsiteX277" fmla="*/ 468684 w 1816431"/>
              <a:gd name="connsiteY277" fmla="*/ 920886 h 1816473"/>
              <a:gd name="connsiteX278" fmla="*/ 467581 w 1816431"/>
              <a:gd name="connsiteY278" fmla="*/ 952095 h 1816473"/>
              <a:gd name="connsiteX279" fmla="*/ 473597 w 1816431"/>
              <a:gd name="connsiteY279" fmla="*/ 981625 h 1816473"/>
              <a:gd name="connsiteX280" fmla="*/ 518368 w 1816431"/>
              <a:gd name="connsiteY280" fmla="*/ 971848 h 1816473"/>
              <a:gd name="connsiteX281" fmla="*/ 735229 w 1816431"/>
              <a:gd name="connsiteY281" fmla="*/ 782286 h 1816473"/>
              <a:gd name="connsiteX282" fmla="*/ 791105 w 1816431"/>
              <a:gd name="connsiteY282" fmla="*/ 762132 h 1816473"/>
              <a:gd name="connsiteX283" fmla="*/ 768945 w 1816431"/>
              <a:gd name="connsiteY283" fmla="*/ 734934 h 1816473"/>
              <a:gd name="connsiteX284" fmla="*/ 712643 w 1816431"/>
              <a:gd name="connsiteY284" fmla="*/ 645951 h 1816473"/>
              <a:gd name="connsiteX285" fmla="*/ 707329 w 1816431"/>
              <a:gd name="connsiteY285" fmla="*/ 489854 h 1816473"/>
              <a:gd name="connsiteX286" fmla="*/ 844073 w 1816431"/>
              <a:gd name="connsiteY286" fmla="*/ 333371 h 1816473"/>
              <a:gd name="connsiteX287" fmla="*/ 1074320 w 1816431"/>
              <a:gd name="connsiteY287" fmla="*/ 413357 h 1816473"/>
              <a:gd name="connsiteX288" fmla="*/ 1112899 w 1816431"/>
              <a:gd name="connsiteY288" fmla="*/ 577894 h 1816473"/>
              <a:gd name="connsiteX289" fmla="*/ 1050982 w 1816431"/>
              <a:gd name="connsiteY289" fmla="*/ 730722 h 1816473"/>
              <a:gd name="connsiteX290" fmla="*/ 1025262 w 1816431"/>
              <a:gd name="connsiteY290" fmla="*/ 762733 h 1816473"/>
              <a:gd name="connsiteX291" fmla="*/ 1083795 w 1816431"/>
              <a:gd name="connsiteY291" fmla="*/ 783038 h 1816473"/>
              <a:gd name="connsiteX292" fmla="*/ 1142329 w 1816431"/>
              <a:gd name="connsiteY292" fmla="*/ 797578 h 1816473"/>
              <a:gd name="connsiteX293" fmla="*/ 1200862 w 1816431"/>
              <a:gd name="connsiteY293" fmla="*/ 783038 h 1816473"/>
              <a:gd name="connsiteX294" fmla="*/ 1259395 w 1816431"/>
              <a:gd name="connsiteY294" fmla="*/ 762383 h 1816473"/>
              <a:gd name="connsiteX295" fmla="*/ 1233675 w 1816431"/>
              <a:gd name="connsiteY295" fmla="*/ 730371 h 1816473"/>
              <a:gd name="connsiteX296" fmla="*/ 1172059 w 1816431"/>
              <a:gd name="connsiteY296" fmla="*/ 576771 h 1816473"/>
              <a:gd name="connsiteX297" fmla="*/ 1185370 w 1816431"/>
              <a:gd name="connsiteY297" fmla="*/ 455837 h 1816473"/>
              <a:gd name="connsiteX298" fmla="*/ 1192915 w 1816431"/>
              <a:gd name="connsiteY298" fmla="*/ 434239 h 1816473"/>
              <a:gd name="connsiteX299" fmla="*/ 1176120 w 1816431"/>
              <a:gd name="connsiteY299" fmla="*/ 408752 h 1816473"/>
              <a:gd name="connsiteX300" fmla="*/ 1041356 w 1816431"/>
              <a:gd name="connsiteY300" fmla="*/ 294398 h 1816473"/>
              <a:gd name="connsiteX301" fmla="*/ 877137 w 1816431"/>
              <a:gd name="connsiteY301" fmla="*/ 266488 h 1816473"/>
              <a:gd name="connsiteX302" fmla="*/ 770900 w 1816431"/>
              <a:gd name="connsiteY302" fmla="*/ 296386 h 1816473"/>
              <a:gd name="connsiteX303" fmla="*/ 632627 w 1816431"/>
              <a:gd name="connsiteY303" fmla="*/ 420725 h 1816473"/>
              <a:gd name="connsiteX304" fmla="*/ 621923 w 1816431"/>
              <a:gd name="connsiteY304" fmla="*/ 438513 h 1816473"/>
              <a:gd name="connsiteX305" fmla="*/ 630070 w 1816431"/>
              <a:gd name="connsiteY305" fmla="*/ 460286 h 1816473"/>
              <a:gd name="connsiteX306" fmla="*/ 644308 w 1816431"/>
              <a:gd name="connsiteY306" fmla="*/ 582093 h 1816473"/>
              <a:gd name="connsiteX307" fmla="*/ 582692 w 1816431"/>
              <a:gd name="connsiteY307" fmla="*/ 730371 h 1816473"/>
              <a:gd name="connsiteX308" fmla="*/ 556973 w 1816431"/>
              <a:gd name="connsiteY308" fmla="*/ 762408 h 1816473"/>
              <a:gd name="connsiteX309" fmla="*/ 614628 w 1816431"/>
              <a:gd name="connsiteY309" fmla="*/ 783164 h 1816473"/>
              <a:gd name="connsiteX310" fmla="*/ 675818 w 1816431"/>
              <a:gd name="connsiteY310" fmla="*/ 796901 h 1816473"/>
              <a:gd name="connsiteX311" fmla="*/ 735229 w 1816431"/>
              <a:gd name="connsiteY311" fmla="*/ 782286 h 1816473"/>
              <a:gd name="connsiteX312" fmla="*/ 599537 w 1816431"/>
              <a:gd name="connsiteY312" fmla="*/ 364916 h 1816473"/>
              <a:gd name="connsiteX313" fmla="*/ 640347 w 1816431"/>
              <a:gd name="connsiteY313" fmla="*/ 317907 h 1816473"/>
              <a:gd name="connsiteX314" fmla="*/ 835450 w 1816431"/>
              <a:gd name="connsiteY314" fmla="*/ 212610 h 1816473"/>
              <a:gd name="connsiteX315" fmla="*/ 980893 w 1816431"/>
              <a:gd name="connsiteY315" fmla="*/ 212818 h 1816473"/>
              <a:gd name="connsiteX316" fmla="*/ 1213270 w 1816431"/>
              <a:gd name="connsiteY316" fmla="*/ 360364 h 1816473"/>
              <a:gd name="connsiteX317" fmla="*/ 1229614 w 1816431"/>
              <a:gd name="connsiteY317" fmla="*/ 382923 h 1816473"/>
              <a:gd name="connsiteX318" fmla="*/ 1247663 w 1816431"/>
              <a:gd name="connsiteY318" fmla="*/ 370131 h 1816473"/>
              <a:gd name="connsiteX319" fmla="*/ 1280552 w 1816431"/>
              <a:gd name="connsiteY319" fmla="*/ 347572 h 1816473"/>
              <a:gd name="connsiteX320" fmla="*/ 1311460 w 1816431"/>
              <a:gd name="connsiteY320" fmla="*/ 303603 h 1816473"/>
              <a:gd name="connsiteX321" fmla="*/ 1326651 w 1816431"/>
              <a:gd name="connsiteY321" fmla="*/ 262753 h 1816473"/>
              <a:gd name="connsiteX322" fmla="*/ 1281555 w 1816431"/>
              <a:gd name="connsiteY322" fmla="*/ 212237 h 1816473"/>
              <a:gd name="connsiteX323" fmla="*/ 1236307 w 1816431"/>
              <a:gd name="connsiteY323" fmla="*/ 167092 h 1816473"/>
              <a:gd name="connsiteX324" fmla="*/ 1215050 w 1816431"/>
              <a:gd name="connsiteY324" fmla="*/ 181378 h 1816473"/>
              <a:gd name="connsiteX325" fmla="*/ 1173688 w 1816431"/>
              <a:gd name="connsiteY325" fmla="*/ 208013 h 1816473"/>
              <a:gd name="connsiteX326" fmla="*/ 1153609 w 1816431"/>
              <a:gd name="connsiteY326" fmla="*/ 220361 h 1816473"/>
              <a:gd name="connsiteX327" fmla="*/ 1116108 w 1816431"/>
              <a:gd name="connsiteY327" fmla="*/ 200520 h 1816473"/>
              <a:gd name="connsiteX328" fmla="*/ 1006161 w 1816431"/>
              <a:gd name="connsiteY328" fmla="*/ 157992 h 1816473"/>
              <a:gd name="connsiteX329" fmla="*/ 991546 w 1816431"/>
              <a:gd name="connsiteY329" fmla="*/ 147993 h 1816473"/>
              <a:gd name="connsiteX330" fmla="*/ 982698 w 1816431"/>
              <a:gd name="connsiteY330" fmla="*/ 106709 h 1816473"/>
              <a:gd name="connsiteX331" fmla="*/ 973723 w 1816431"/>
              <a:gd name="connsiteY331" fmla="*/ 65024 h 1816473"/>
              <a:gd name="connsiteX332" fmla="*/ 908196 w 1816431"/>
              <a:gd name="connsiteY332" fmla="*/ 57042 h 1816473"/>
              <a:gd name="connsiteX333" fmla="*/ 842619 w 1816431"/>
              <a:gd name="connsiteY333" fmla="*/ 65024 h 1816473"/>
              <a:gd name="connsiteX334" fmla="*/ 832216 w 1816431"/>
              <a:gd name="connsiteY334" fmla="*/ 113202 h 1816473"/>
              <a:gd name="connsiteX335" fmla="*/ 822464 w 1816431"/>
              <a:gd name="connsiteY335" fmla="*/ 154147 h 1816473"/>
              <a:gd name="connsiteX336" fmla="*/ 782256 w 1816431"/>
              <a:gd name="connsiteY336" fmla="*/ 166530 h 1816473"/>
              <a:gd name="connsiteX337" fmla="*/ 702917 w 1816431"/>
              <a:gd name="connsiteY337" fmla="*/ 199249 h 1816473"/>
              <a:gd name="connsiteX338" fmla="*/ 662633 w 1816431"/>
              <a:gd name="connsiteY338" fmla="*/ 220333 h 1816473"/>
              <a:gd name="connsiteX339" fmla="*/ 649698 w 1816431"/>
              <a:gd name="connsiteY339" fmla="*/ 212520 h 1816473"/>
              <a:gd name="connsiteX340" fmla="*/ 611244 w 1816431"/>
              <a:gd name="connsiteY340" fmla="*/ 187638 h 1816473"/>
              <a:gd name="connsiteX341" fmla="*/ 581037 w 1816431"/>
              <a:gd name="connsiteY341" fmla="*/ 170566 h 1816473"/>
              <a:gd name="connsiteX342" fmla="*/ 531453 w 1816431"/>
              <a:gd name="connsiteY342" fmla="*/ 215799 h 1816473"/>
              <a:gd name="connsiteX343" fmla="*/ 486532 w 1816431"/>
              <a:gd name="connsiteY343" fmla="*/ 261031 h 1816473"/>
              <a:gd name="connsiteX344" fmla="*/ 503027 w 1816431"/>
              <a:gd name="connsiteY344" fmla="*/ 300472 h 1816473"/>
              <a:gd name="connsiteX345" fmla="*/ 534061 w 1816431"/>
              <a:gd name="connsiteY345" fmla="*/ 347637 h 1816473"/>
              <a:gd name="connsiteX346" fmla="*/ 565596 w 1816431"/>
              <a:gd name="connsiteY346" fmla="*/ 369394 h 1816473"/>
              <a:gd name="connsiteX347" fmla="*/ 584848 w 1816431"/>
              <a:gd name="connsiteY347" fmla="*/ 383419 h 1816473"/>
              <a:gd name="connsiteX348" fmla="*/ 599537 w 1816431"/>
              <a:gd name="connsiteY348" fmla="*/ 364916 h 181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816431" h="1816473">
                <a:moveTo>
                  <a:pt x="903558" y="1811542"/>
                </a:moveTo>
                <a:cubicBezTo>
                  <a:pt x="888092" y="1806027"/>
                  <a:pt x="866659" y="1791864"/>
                  <a:pt x="854978" y="1779430"/>
                </a:cubicBezTo>
                <a:lnTo>
                  <a:pt x="846956" y="1770882"/>
                </a:lnTo>
                <a:lnTo>
                  <a:pt x="832466" y="1778252"/>
                </a:lnTo>
                <a:cubicBezTo>
                  <a:pt x="822615" y="1783290"/>
                  <a:pt x="810958" y="1785697"/>
                  <a:pt x="795893" y="1785847"/>
                </a:cubicBezTo>
                <a:cubicBezTo>
                  <a:pt x="753528" y="1786249"/>
                  <a:pt x="718058" y="1759150"/>
                  <a:pt x="707780" y="1718490"/>
                </a:cubicBezTo>
                <a:cubicBezTo>
                  <a:pt x="704195" y="1704302"/>
                  <a:pt x="701688" y="1700868"/>
                  <a:pt x="693190" y="1698386"/>
                </a:cubicBezTo>
                <a:cubicBezTo>
                  <a:pt x="671256" y="1692019"/>
                  <a:pt x="645562" y="1677053"/>
                  <a:pt x="636763" y="1665547"/>
                </a:cubicBezTo>
                <a:cubicBezTo>
                  <a:pt x="625608" y="1650908"/>
                  <a:pt x="617285" y="1631756"/>
                  <a:pt x="617285" y="1620726"/>
                </a:cubicBezTo>
                <a:cubicBezTo>
                  <a:pt x="617285" y="1613908"/>
                  <a:pt x="614453" y="1611903"/>
                  <a:pt x="599838" y="1608443"/>
                </a:cubicBezTo>
                <a:cubicBezTo>
                  <a:pt x="564643" y="1600071"/>
                  <a:pt x="539500" y="1575203"/>
                  <a:pt x="531278" y="1540635"/>
                </a:cubicBezTo>
                <a:cubicBezTo>
                  <a:pt x="527668" y="1525344"/>
                  <a:pt x="525588" y="1522210"/>
                  <a:pt x="519120" y="1522210"/>
                </a:cubicBezTo>
                <a:cubicBezTo>
                  <a:pt x="499492" y="1522210"/>
                  <a:pt x="469887" y="1503735"/>
                  <a:pt x="456075" y="1482879"/>
                </a:cubicBezTo>
                <a:cubicBezTo>
                  <a:pt x="451011" y="1475208"/>
                  <a:pt x="445020" y="1460945"/>
                  <a:pt x="442739" y="1451143"/>
                </a:cubicBezTo>
                <a:lnTo>
                  <a:pt x="438653" y="1433345"/>
                </a:lnTo>
                <a:lnTo>
                  <a:pt x="397592" y="1409480"/>
                </a:lnTo>
                <a:cubicBezTo>
                  <a:pt x="375006" y="1396370"/>
                  <a:pt x="355002" y="1385641"/>
                  <a:pt x="353147" y="1385641"/>
                </a:cubicBezTo>
                <a:cubicBezTo>
                  <a:pt x="351292" y="1385641"/>
                  <a:pt x="348810" y="1389627"/>
                  <a:pt x="347682" y="1394490"/>
                </a:cubicBezTo>
                <a:cubicBezTo>
                  <a:pt x="345677" y="1402988"/>
                  <a:pt x="344323" y="1403414"/>
                  <a:pt x="315570" y="1404317"/>
                </a:cubicBezTo>
                <a:lnTo>
                  <a:pt x="285589" y="1405294"/>
                </a:lnTo>
                <a:lnTo>
                  <a:pt x="143681" y="1357916"/>
                </a:lnTo>
                <a:lnTo>
                  <a:pt x="1773" y="1310538"/>
                </a:lnTo>
                <a:lnTo>
                  <a:pt x="870" y="1006617"/>
                </a:lnTo>
                <a:lnTo>
                  <a:pt x="-57" y="702721"/>
                </a:lnTo>
                <a:lnTo>
                  <a:pt x="47045" y="702721"/>
                </a:lnTo>
                <a:lnTo>
                  <a:pt x="94172" y="702721"/>
                </a:lnTo>
                <a:lnTo>
                  <a:pt x="167771" y="745612"/>
                </a:lnTo>
                <a:lnTo>
                  <a:pt x="241370" y="788528"/>
                </a:lnTo>
                <a:lnTo>
                  <a:pt x="282105" y="778576"/>
                </a:lnTo>
                <a:cubicBezTo>
                  <a:pt x="313941" y="770830"/>
                  <a:pt x="322815" y="767346"/>
                  <a:pt x="322815" y="762683"/>
                </a:cubicBezTo>
                <a:cubicBezTo>
                  <a:pt x="322815" y="759400"/>
                  <a:pt x="311108" y="744960"/>
                  <a:pt x="296795" y="730597"/>
                </a:cubicBezTo>
                <a:cubicBezTo>
                  <a:pt x="266337" y="700039"/>
                  <a:pt x="247762" y="665947"/>
                  <a:pt x="239089" y="624663"/>
                </a:cubicBezTo>
                <a:cubicBezTo>
                  <a:pt x="230967" y="585989"/>
                  <a:pt x="233824" y="497033"/>
                  <a:pt x="244253" y="464764"/>
                </a:cubicBezTo>
                <a:cubicBezTo>
                  <a:pt x="269120" y="387648"/>
                  <a:pt x="340864" y="331243"/>
                  <a:pt x="423036" y="324151"/>
                </a:cubicBezTo>
                <a:cubicBezTo>
                  <a:pt x="436221" y="323016"/>
                  <a:pt x="447000" y="320973"/>
                  <a:pt x="447000" y="319612"/>
                </a:cubicBezTo>
                <a:cubicBezTo>
                  <a:pt x="447000" y="318253"/>
                  <a:pt x="440458" y="301483"/>
                  <a:pt x="432461" y="282346"/>
                </a:cubicBezTo>
                <a:lnTo>
                  <a:pt x="417922" y="247554"/>
                </a:lnTo>
                <a:lnTo>
                  <a:pt x="495431" y="170105"/>
                </a:lnTo>
                <a:lnTo>
                  <a:pt x="572940" y="92653"/>
                </a:lnTo>
                <a:lnTo>
                  <a:pt x="618388" y="122675"/>
                </a:lnTo>
                <a:lnTo>
                  <a:pt x="663836" y="152693"/>
                </a:lnTo>
                <a:lnTo>
                  <a:pt x="687575" y="140761"/>
                </a:lnTo>
                <a:cubicBezTo>
                  <a:pt x="700610" y="134198"/>
                  <a:pt x="724074" y="124407"/>
                  <a:pt x="739666" y="119002"/>
                </a:cubicBezTo>
                <a:cubicBezTo>
                  <a:pt x="755283" y="113598"/>
                  <a:pt x="769847" y="107421"/>
                  <a:pt x="772028" y="105280"/>
                </a:cubicBezTo>
                <a:cubicBezTo>
                  <a:pt x="774209" y="103139"/>
                  <a:pt x="780576" y="78638"/>
                  <a:pt x="786166" y="50833"/>
                </a:cubicBezTo>
                <a:lnTo>
                  <a:pt x="796344" y="279"/>
                </a:lnTo>
                <a:lnTo>
                  <a:pt x="908196" y="279"/>
                </a:lnTo>
                <a:lnTo>
                  <a:pt x="1020023" y="279"/>
                </a:lnTo>
                <a:lnTo>
                  <a:pt x="1030201" y="50833"/>
                </a:lnTo>
                <a:cubicBezTo>
                  <a:pt x="1035816" y="78638"/>
                  <a:pt x="1042158" y="103139"/>
                  <a:pt x="1044339" y="105280"/>
                </a:cubicBezTo>
                <a:cubicBezTo>
                  <a:pt x="1046520" y="107421"/>
                  <a:pt x="1061084" y="113598"/>
                  <a:pt x="1076701" y="119002"/>
                </a:cubicBezTo>
                <a:cubicBezTo>
                  <a:pt x="1092318" y="124407"/>
                  <a:pt x="1115757" y="134198"/>
                  <a:pt x="1128792" y="140761"/>
                </a:cubicBezTo>
                <a:lnTo>
                  <a:pt x="1152531" y="152693"/>
                </a:lnTo>
                <a:lnTo>
                  <a:pt x="1197979" y="122675"/>
                </a:lnTo>
                <a:lnTo>
                  <a:pt x="1243426" y="92653"/>
                </a:lnTo>
                <a:lnTo>
                  <a:pt x="1320986" y="170158"/>
                </a:lnTo>
                <a:lnTo>
                  <a:pt x="1398546" y="247660"/>
                </a:lnTo>
                <a:lnTo>
                  <a:pt x="1382578" y="285387"/>
                </a:lnTo>
                <a:lnTo>
                  <a:pt x="1366584" y="323113"/>
                </a:lnTo>
                <a:lnTo>
                  <a:pt x="1383054" y="323166"/>
                </a:lnTo>
                <a:cubicBezTo>
                  <a:pt x="1451790" y="323384"/>
                  <a:pt x="1524586" y="371171"/>
                  <a:pt x="1557300" y="437525"/>
                </a:cubicBezTo>
                <a:cubicBezTo>
                  <a:pt x="1575799" y="475092"/>
                  <a:pt x="1582116" y="505942"/>
                  <a:pt x="1582116" y="559033"/>
                </a:cubicBezTo>
                <a:cubicBezTo>
                  <a:pt x="1582116" y="637981"/>
                  <a:pt x="1564945" y="685074"/>
                  <a:pt x="1519573" y="730597"/>
                </a:cubicBezTo>
                <a:cubicBezTo>
                  <a:pt x="1505259" y="744960"/>
                  <a:pt x="1493552" y="759375"/>
                  <a:pt x="1493552" y="762633"/>
                </a:cubicBezTo>
                <a:cubicBezTo>
                  <a:pt x="1493552" y="767346"/>
                  <a:pt x="1506287" y="771658"/>
                  <a:pt x="1556522" y="783966"/>
                </a:cubicBezTo>
                <a:cubicBezTo>
                  <a:pt x="1591141" y="792464"/>
                  <a:pt x="1627013" y="802566"/>
                  <a:pt x="1636213" y="806427"/>
                </a:cubicBezTo>
                <a:lnTo>
                  <a:pt x="1652933" y="813446"/>
                </a:lnTo>
                <a:lnTo>
                  <a:pt x="1700862" y="788227"/>
                </a:lnTo>
                <a:lnTo>
                  <a:pt x="1748767" y="763009"/>
                </a:lnTo>
                <a:lnTo>
                  <a:pt x="1782583" y="763009"/>
                </a:lnTo>
                <a:lnTo>
                  <a:pt x="1816374" y="763009"/>
                </a:lnTo>
                <a:lnTo>
                  <a:pt x="1816374" y="976787"/>
                </a:lnTo>
                <a:lnTo>
                  <a:pt x="1816374" y="1190539"/>
                </a:lnTo>
                <a:lnTo>
                  <a:pt x="1552085" y="1322671"/>
                </a:lnTo>
                <a:lnTo>
                  <a:pt x="1287772" y="1454803"/>
                </a:lnTo>
                <a:lnTo>
                  <a:pt x="1287772" y="1466334"/>
                </a:lnTo>
                <a:cubicBezTo>
                  <a:pt x="1287746" y="1486489"/>
                  <a:pt x="1281028" y="1503083"/>
                  <a:pt x="1266038" y="1520104"/>
                </a:cubicBezTo>
                <a:cubicBezTo>
                  <a:pt x="1249493" y="1538905"/>
                  <a:pt x="1236884" y="1546426"/>
                  <a:pt x="1215752" y="1550035"/>
                </a:cubicBezTo>
                <a:cubicBezTo>
                  <a:pt x="1201839" y="1552392"/>
                  <a:pt x="1200887" y="1553344"/>
                  <a:pt x="1198531" y="1567257"/>
                </a:cubicBezTo>
                <a:cubicBezTo>
                  <a:pt x="1197127" y="1575354"/>
                  <a:pt x="1193542" y="1586735"/>
                  <a:pt x="1190559" y="1592525"/>
                </a:cubicBezTo>
                <a:cubicBezTo>
                  <a:pt x="1178225" y="1616390"/>
                  <a:pt x="1145813" y="1639026"/>
                  <a:pt x="1123778" y="1639201"/>
                </a:cubicBezTo>
                <a:cubicBezTo>
                  <a:pt x="1116108" y="1639251"/>
                  <a:pt x="1113651" y="1641307"/>
                  <a:pt x="1111997" y="1649053"/>
                </a:cubicBezTo>
                <a:cubicBezTo>
                  <a:pt x="1107058" y="1672140"/>
                  <a:pt x="1098385" y="1689487"/>
                  <a:pt x="1085224" y="1702648"/>
                </a:cubicBezTo>
                <a:cubicBezTo>
                  <a:pt x="1072214" y="1715658"/>
                  <a:pt x="1046495" y="1727966"/>
                  <a:pt x="1032331" y="1727966"/>
                </a:cubicBezTo>
                <a:cubicBezTo>
                  <a:pt x="1028220" y="1727966"/>
                  <a:pt x="1025262" y="1733255"/>
                  <a:pt x="1022380" y="1745689"/>
                </a:cubicBezTo>
                <a:cubicBezTo>
                  <a:pt x="1010121" y="1798782"/>
                  <a:pt x="954396" y="1829666"/>
                  <a:pt x="903558" y="1811542"/>
                </a:cubicBezTo>
                <a:close/>
                <a:moveTo>
                  <a:pt x="956978" y="1748170"/>
                </a:moveTo>
                <a:cubicBezTo>
                  <a:pt x="962568" y="1743107"/>
                  <a:pt x="964949" y="1736915"/>
                  <a:pt x="964949" y="1727490"/>
                </a:cubicBezTo>
                <a:cubicBezTo>
                  <a:pt x="964949" y="1716084"/>
                  <a:pt x="962368" y="1711546"/>
                  <a:pt x="948104" y="1697759"/>
                </a:cubicBezTo>
                <a:lnTo>
                  <a:pt x="931259" y="1681491"/>
                </a:lnTo>
                <a:lnTo>
                  <a:pt x="924139" y="1691242"/>
                </a:lnTo>
                <a:cubicBezTo>
                  <a:pt x="920254" y="1696606"/>
                  <a:pt x="910703" y="1708037"/>
                  <a:pt x="902932" y="1716661"/>
                </a:cubicBezTo>
                <a:lnTo>
                  <a:pt x="888819" y="1732303"/>
                </a:lnTo>
                <a:lnTo>
                  <a:pt x="899397" y="1741076"/>
                </a:lnTo>
                <a:cubicBezTo>
                  <a:pt x="922786" y="1760504"/>
                  <a:pt x="940935" y="1762735"/>
                  <a:pt x="956978" y="1748170"/>
                </a:cubicBezTo>
                <a:close/>
                <a:moveTo>
                  <a:pt x="838783" y="1699414"/>
                </a:moveTo>
                <a:cubicBezTo>
                  <a:pt x="879769" y="1660057"/>
                  <a:pt x="886638" y="1643237"/>
                  <a:pt x="869642" y="1623809"/>
                </a:cubicBezTo>
                <a:cubicBezTo>
                  <a:pt x="851217" y="1602778"/>
                  <a:pt x="832592" y="1609145"/>
                  <a:pt x="793235" y="1649955"/>
                </a:cubicBezTo>
                <a:cubicBezTo>
                  <a:pt x="765561" y="1678683"/>
                  <a:pt x="762728" y="1682894"/>
                  <a:pt x="762728" y="1695453"/>
                </a:cubicBezTo>
                <a:cubicBezTo>
                  <a:pt x="762728" y="1714555"/>
                  <a:pt x="776139" y="1727966"/>
                  <a:pt x="795241" y="1727966"/>
                </a:cubicBezTo>
                <a:cubicBezTo>
                  <a:pt x="807650" y="1727966"/>
                  <a:pt x="811986" y="1725133"/>
                  <a:pt x="838783" y="1699414"/>
                </a:cubicBezTo>
                <a:close/>
                <a:moveTo>
                  <a:pt x="1045667" y="1659681"/>
                </a:moveTo>
                <a:cubicBezTo>
                  <a:pt x="1054842" y="1651134"/>
                  <a:pt x="1056271" y="1633962"/>
                  <a:pt x="1048701" y="1623158"/>
                </a:cubicBezTo>
                <a:cubicBezTo>
                  <a:pt x="1045993" y="1619297"/>
                  <a:pt x="1009269" y="1587436"/>
                  <a:pt x="967105" y="1552392"/>
                </a:cubicBezTo>
                <a:cubicBezTo>
                  <a:pt x="924942" y="1517347"/>
                  <a:pt x="890498" y="1487842"/>
                  <a:pt x="890524" y="1486814"/>
                </a:cubicBezTo>
                <a:cubicBezTo>
                  <a:pt x="890574" y="1485812"/>
                  <a:pt x="898996" y="1475609"/>
                  <a:pt x="909249" y="1464153"/>
                </a:cubicBezTo>
                <a:lnTo>
                  <a:pt x="927874" y="1443322"/>
                </a:lnTo>
                <a:lnTo>
                  <a:pt x="1004055" y="1506869"/>
                </a:lnTo>
                <a:cubicBezTo>
                  <a:pt x="1095402" y="1583024"/>
                  <a:pt x="1094700" y="1582523"/>
                  <a:pt x="1109690" y="1582523"/>
                </a:cubicBezTo>
                <a:cubicBezTo>
                  <a:pt x="1123979" y="1582523"/>
                  <a:pt x="1142329" y="1566204"/>
                  <a:pt x="1142303" y="1553520"/>
                </a:cubicBezTo>
                <a:cubicBezTo>
                  <a:pt x="1142279" y="1538629"/>
                  <a:pt x="1130797" y="1526848"/>
                  <a:pt x="1054516" y="1463552"/>
                </a:cubicBezTo>
                <a:cubicBezTo>
                  <a:pt x="1013054" y="1429159"/>
                  <a:pt x="979188" y="1399930"/>
                  <a:pt x="979238" y="1398626"/>
                </a:cubicBezTo>
                <a:cubicBezTo>
                  <a:pt x="979288" y="1397348"/>
                  <a:pt x="987661" y="1387145"/>
                  <a:pt x="997863" y="1376015"/>
                </a:cubicBezTo>
                <a:lnTo>
                  <a:pt x="1016388" y="1355736"/>
                </a:lnTo>
                <a:lnTo>
                  <a:pt x="1098962" y="1424797"/>
                </a:lnTo>
                <a:cubicBezTo>
                  <a:pt x="1175393" y="1488694"/>
                  <a:pt x="1182562" y="1493833"/>
                  <a:pt x="1195447" y="1493833"/>
                </a:cubicBezTo>
                <a:cubicBezTo>
                  <a:pt x="1223473" y="1493833"/>
                  <a:pt x="1238965" y="1466810"/>
                  <a:pt x="1223297" y="1445227"/>
                </a:cubicBezTo>
                <a:cubicBezTo>
                  <a:pt x="1211566" y="1429034"/>
                  <a:pt x="973949" y="1216685"/>
                  <a:pt x="958708" y="1208738"/>
                </a:cubicBezTo>
                <a:cubicBezTo>
                  <a:pt x="949558" y="1203976"/>
                  <a:pt x="940960" y="1202572"/>
                  <a:pt x="927849" y="1203650"/>
                </a:cubicBezTo>
                <a:cubicBezTo>
                  <a:pt x="912483" y="1204928"/>
                  <a:pt x="900776" y="1210493"/>
                  <a:pt x="852245" y="1239672"/>
                </a:cubicBezTo>
                <a:cubicBezTo>
                  <a:pt x="775412" y="1285872"/>
                  <a:pt x="767541" y="1289181"/>
                  <a:pt x="738312" y="1287376"/>
                </a:cubicBezTo>
                <a:cubicBezTo>
                  <a:pt x="700711" y="1285095"/>
                  <a:pt x="670554" y="1265542"/>
                  <a:pt x="654411" y="1232954"/>
                </a:cubicBezTo>
                <a:cubicBezTo>
                  <a:pt x="644935" y="1213852"/>
                  <a:pt x="644559" y="1160533"/>
                  <a:pt x="653759" y="1143562"/>
                </a:cubicBezTo>
                <a:cubicBezTo>
                  <a:pt x="668875" y="1115687"/>
                  <a:pt x="680356" y="1107565"/>
                  <a:pt x="763756" y="1065827"/>
                </a:cubicBezTo>
                <a:cubicBezTo>
                  <a:pt x="808502" y="1043442"/>
                  <a:pt x="844524" y="1024591"/>
                  <a:pt x="843822" y="1023939"/>
                </a:cubicBezTo>
                <a:cubicBezTo>
                  <a:pt x="843120" y="1023287"/>
                  <a:pt x="824194" y="1017396"/>
                  <a:pt x="801759" y="1010879"/>
                </a:cubicBezTo>
                <a:cubicBezTo>
                  <a:pt x="763580" y="999749"/>
                  <a:pt x="757639" y="998997"/>
                  <a:pt x="709509" y="999172"/>
                </a:cubicBezTo>
                <a:cubicBezTo>
                  <a:pt x="659123" y="999348"/>
                  <a:pt x="655940" y="999824"/>
                  <a:pt x="553764" y="1023062"/>
                </a:cubicBezTo>
                <a:cubicBezTo>
                  <a:pt x="496384" y="1036097"/>
                  <a:pt x="448705" y="1047503"/>
                  <a:pt x="447777" y="1048405"/>
                </a:cubicBezTo>
                <a:cubicBezTo>
                  <a:pt x="445797" y="1050386"/>
                  <a:pt x="369165" y="1316705"/>
                  <a:pt x="369140" y="1321769"/>
                </a:cubicBezTo>
                <a:cubicBezTo>
                  <a:pt x="369115" y="1323724"/>
                  <a:pt x="388768" y="1336910"/>
                  <a:pt x="412783" y="1351098"/>
                </a:cubicBezTo>
                <a:lnTo>
                  <a:pt x="456476" y="1376867"/>
                </a:lnTo>
                <a:lnTo>
                  <a:pt x="491972" y="1341397"/>
                </a:lnTo>
                <a:cubicBezTo>
                  <a:pt x="532907" y="1300461"/>
                  <a:pt x="550004" y="1290910"/>
                  <a:pt x="582366" y="1290910"/>
                </a:cubicBezTo>
                <a:cubicBezTo>
                  <a:pt x="627162" y="1290910"/>
                  <a:pt x="661881" y="1320290"/>
                  <a:pt x="671983" y="1366765"/>
                </a:cubicBezTo>
                <a:cubicBezTo>
                  <a:pt x="673688" y="1374611"/>
                  <a:pt x="677297" y="1377219"/>
                  <a:pt x="692890" y="1381731"/>
                </a:cubicBezTo>
                <a:cubicBezTo>
                  <a:pt x="703268" y="1384764"/>
                  <a:pt x="718208" y="1391908"/>
                  <a:pt x="726129" y="1397624"/>
                </a:cubicBezTo>
                <a:cubicBezTo>
                  <a:pt x="741721" y="1408929"/>
                  <a:pt x="759194" y="1439186"/>
                  <a:pt x="759194" y="1454903"/>
                </a:cubicBezTo>
                <a:cubicBezTo>
                  <a:pt x="759194" y="1463176"/>
                  <a:pt x="761174" y="1464680"/>
                  <a:pt x="776891" y="1468314"/>
                </a:cubicBezTo>
                <a:cubicBezTo>
                  <a:pt x="814744" y="1477063"/>
                  <a:pt x="847883" y="1513086"/>
                  <a:pt x="847883" y="1545498"/>
                </a:cubicBezTo>
                <a:cubicBezTo>
                  <a:pt x="847883" y="1552091"/>
                  <a:pt x="849788" y="1554146"/>
                  <a:pt x="855855" y="1554171"/>
                </a:cubicBezTo>
                <a:cubicBezTo>
                  <a:pt x="874079" y="1554247"/>
                  <a:pt x="922384" y="1585155"/>
                  <a:pt x="922384" y="1596736"/>
                </a:cubicBezTo>
                <a:cubicBezTo>
                  <a:pt x="922384" y="1599895"/>
                  <a:pt x="976405" y="1646471"/>
                  <a:pt x="995106" y="1659456"/>
                </a:cubicBezTo>
                <a:cubicBezTo>
                  <a:pt x="1014483" y="1672892"/>
                  <a:pt x="1031429" y="1672992"/>
                  <a:pt x="1045667" y="1659681"/>
                </a:cubicBezTo>
                <a:close/>
                <a:moveTo>
                  <a:pt x="752275" y="1608769"/>
                </a:moveTo>
                <a:cubicBezTo>
                  <a:pt x="769421" y="1591974"/>
                  <a:pt x="785364" y="1573649"/>
                  <a:pt x="787696" y="1568034"/>
                </a:cubicBezTo>
                <a:cubicBezTo>
                  <a:pt x="798575" y="1541788"/>
                  <a:pt x="772404" y="1516344"/>
                  <a:pt x="746183" y="1527650"/>
                </a:cubicBezTo>
                <a:cubicBezTo>
                  <a:pt x="740644" y="1530031"/>
                  <a:pt x="722169" y="1546350"/>
                  <a:pt x="705098" y="1563898"/>
                </a:cubicBezTo>
                <a:cubicBezTo>
                  <a:pt x="672685" y="1597188"/>
                  <a:pt x="668950" y="1605360"/>
                  <a:pt x="678175" y="1622657"/>
                </a:cubicBezTo>
                <a:cubicBezTo>
                  <a:pt x="684542" y="1634639"/>
                  <a:pt x="692338" y="1639051"/>
                  <a:pt x="707329" y="1639176"/>
                </a:cubicBezTo>
                <a:cubicBezTo>
                  <a:pt x="719863" y="1639276"/>
                  <a:pt x="723798" y="1636619"/>
                  <a:pt x="752275" y="1608769"/>
                </a:cubicBezTo>
                <a:close/>
                <a:moveTo>
                  <a:pt x="667847" y="1515517"/>
                </a:moveTo>
                <a:cubicBezTo>
                  <a:pt x="698455" y="1484734"/>
                  <a:pt x="702415" y="1479294"/>
                  <a:pt x="702415" y="1468264"/>
                </a:cubicBezTo>
                <a:cubicBezTo>
                  <a:pt x="702415" y="1450567"/>
                  <a:pt x="688352" y="1437080"/>
                  <a:pt x="669928" y="1437080"/>
                </a:cubicBezTo>
                <a:cubicBezTo>
                  <a:pt x="657494" y="1437080"/>
                  <a:pt x="653157" y="1439938"/>
                  <a:pt x="625758" y="1466259"/>
                </a:cubicBezTo>
                <a:cubicBezTo>
                  <a:pt x="609038" y="1482302"/>
                  <a:pt x="592995" y="1499975"/>
                  <a:pt x="590137" y="1505540"/>
                </a:cubicBezTo>
                <a:cubicBezTo>
                  <a:pt x="583695" y="1517999"/>
                  <a:pt x="586502" y="1532989"/>
                  <a:pt x="597056" y="1542615"/>
                </a:cubicBezTo>
                <a:cubicBezTo>
                  <a:pt x="616884" y="1560614"/>
                  <a:pt x="626736" y="1556854"/>
                  <a:pt x="667847" y="1515517"/>
                </a:cubicBezTo>
                <a:close/>
                <a:moveTo>
                  <a:pt x="545617" y="1460468"/>
                </a:moveTo>
                <a:cubicBezTo>
                  <a:pt x="550881" y="1457711"/>
                  <a:pt x="568378" y="1441943"/>
                  <a:pt x="584472" y="1425424"/>
                </a:cubicBezTo>
                <a:cubicBezTo>
                  <a:pt x="611068" y="1398100"/>
                  <a:pt x="613726" y="1394089"/>
                  <a:pt x="613726" y="1381405"/>
                </a:cubicBezTo>
                <a:cubicBezTo>
                  <a:pt x="613726" y="1359395"/>
                  <a:pt x="594775" y="1344305"/>
                  <a:pt x="573818" y="1349644"/>
                </a:cubicBezTo>
                <a:cubicBezTo>
                  <a:pt x="569431" y="1350772"/>
                  <a:pt x="550981" y="1366640"/>
                  <a:pt x="532807" y="1384914"/>
                </a:cubicBezTo>
                <a:cubicBezTo>
                  <a:pt x="505483" y="1412389"/>
                  <a:pt x="499718" y="1420084"/>
                  <a:pt x="499442" y="1429485"/>
                </a:cubicBezTo>
                <a:cubicBezTo>
                  <a:pt x="498665" y="1457235"/>
                  <a:pt x="521903" y="1472827"/>
                  <a:pt x="545617" y="1460468"/>
                </a:cubicBezTo>
                <a:close/>
                <a:moveTo>
                  <a:pt x="1759621" y="990073"/>
                </a:moveTo>
                <a:cubicBezTo>
                  <a:pt x="1759621" y="887796"/>
                  <a:pt x="1758342" y="826882"/>
                  <a:pt x="1756212" y="826882"/>
                </a:cubicBezTo>
                <a:cubicBezTo>
                  <a:pt x="1754332" y="826882"/>
                  <a:pt x="1629570" y="891757"/>
                  <a:pt x="1478988" y="971021"/>
                </a:cubicBezTo>
                <a:lnTo>
                  <a:pt x="1205174" y="1115186"/>
                </a:lnTo>
                <a:lnTo>
                  <a:pt x="1181735" y="1113080"/>
                </a:lnTo>
                <a:cubicBezTo>
                  <a:pt x="1168850" y="1111927"/>
                  <a:pt x="1116785" y="1099117"/>
                  <a:pt x="1066048" y="1084578"/>
                </a:cubicBezTo>
                <a:cubicBezTo>
                  <a:pt x="957855" y="1053594"/>
                  <a:pt x="950936" y="1052266"/>
                  <a:pt x="923638" y="1057154"/>
                </a:cubicBezTo>
                <a:cubicBezTo>
                  <a:pt x="894509" y="1062368"/>
                  <a:pt x="719487" y="1149152"/>
                  <a:pt x="710512" y="1162814"/>
                </a:cubicBezTo>
                <a:cubicBezTo>
                  <a:pt x="702967" y="1174346"/>
                  <a:pt x="702265" y="1198260"/>
                  <a:pt x="709159" y="1211095"/>
                </a:cubicBezTo>
                <a:cubicBezTo>
                  <a:pt x="715375" y="1222726"/>
                  <a:pt x="735705" y="1232628"/>
                  <a:pt x="748214" y="1230121"/>
                </a:cubicBezTo>
                <a:cubicBezTo>
                  <a:pt x="753428" y="1229093"/>
                  <a:pt x="785766" y="1211471"/>
                  <a:pt x="820058" y="1190990"/>
                </a:cubicBezTo>
                <a:cubicBezTo>
                  <a:pt x="889947" y="1149228"/>
                  <a:pt x="912734" y="1140554"/>
                  <a:pt x="943366" y="1144013"/>
                </a:cubicBezTo>
                <a:cubicBezTo>
                  <a:pt x="981795" y="1148375"/>
                  <a:pt x="996660" y="1159255"/>
                  <a:pt x="1135134" y="1284117"/>
                </a:cubicBezTo>
                <a:lnTo>
                  <a:pt x="1264509" y="1400832"/>
                </a:lnTo>
                <a:lnTo>
                  <a:pt x="1512052" y="1277048"/>
                </a:lnTo>
                <a:lnTo>
                  <a:pt x="1759621" y="1153238"/>
                </a:lnTo>
                <a:close/>
                <a:moveTo>
                  <a:pt x="355954" y="1152712"/>
                </a:moveTo>
                <a:cubicBezTo>
                  <a:pt x="386688" y="1045096"/>
                  <a:pt x="410577" y="955905"/>
                  <a:pt x="409023" y="954502"/>
                </a:cubicBezTo>
                <a:cubicBezTo>
                  <a:pt x="407469" y="953123"/>
                  <a:pt x="392177" y="943798"/>
                  <a:pt x="375056" y="933771"/>
                </a:cubicBezTo>
                <a:cubicBezTo>
                  <a:pt x="354074" y="921512"/>
                  <a:pt x="343370" y="917025"/>
                  <a:pt x="342342" y="920008"/>
                </a:cubicBezTo>
                <a:cubicBezTo>
                  <a:pt x="339710" y="927453"/>
                  <a:pt x="241245" y="1323248"/>
                  <a:pt x="241245" y="1326331"/>
                </a:cubicBezTo>
                <a:cubicBezTo>
                  <a:pt x="241245" y="1328537"/>
                  <a:pt x="287971" y="1346385"/>
                  <a:pt x="298148" y="1348065"/>
                </a:cubicBezTo>
                <a:cubicBezTo>
                  <a:pt x="299201" y="1348240"/>
                  <a:pt x="325221" y="1260328"/>
                  <a:pt x="355954" y="1152712"/>
                </a:cubicBezTo>
                <a:close/>
                <a:moveTo>
                  <a:pt x="187725" y="1296049"/>
                </a:moveTo>
                <a:cubicBezTo>
                  <a:pt x="189655" y="1288729"/>
                  <a:pt x="212918" y="1195753"/>
                  <a:pt x="239440" y="1089391"/>
                </a:cubicBezTo>
                <a:cubicBezTo>
                  <a:pt x="265936" y="983054"/>
                  <a:pt x="288397" y="893512"/>
                  <a:pt x="289324" y="890428"/>
                </a:cubicBezTo>
                <a:cubicBezTo>
                  <a:pt x="291906" y="881805"/>
                  <a:pt x="86827" y="763009"/>
                  <a:pt x="69355" y="763009"/>
                </a:cubicBezTo>
                <a:lnTo>
                  <a:pt x="56696" y="763009"/>
                </a:lnTo>
                <a:lnTo>
                  <a:pt x="57624" y="1015491"/>
                </a:lnTo>
                <a:lnTo>
                  <a:pt x="58526" y="1267973"/>
                </a:lnTo>
                <a:lnTo>
                  <a:pt x="118839" y="1288378"/>
                </a:lnTo>
                <a:cubicBezTo>
                  <a:pt x="152004" y="1299609"/>
                  <a:pt x="180280" y="1308934"/>
                  <a:pt x="181684" y="1309084"/>
                </a:cubicBezTo>
                <a:cubicBezTo>
                  <a:pt x="183062" y="1309235"/>
                  <a:pt x="185770" y="1303369"/>
                  <a:pt x="187700" y="1296049"/>
                </a:cubicBezTo>
                <a:close/>
                <a:moveTo>
                  <a:pt x="1201839" y="999373"/>
                </a:moveTo>
                <a:cubicBezTo>
                  <a:pt x="1202992" y="938759"/>
                  <a:pt x="1199207" y="912588"/>
                  <a:pt x="1186598" y="893512"/>
                </a:cubicBezTo>
                <a:cubicBezTo>
                  <a:pt x="1168850" y="866689"/>
                  <a:pt x="1157169" y="861525"/>
                  <a:pt x="1059003" y="837109"/>
                </a:cubicBezTo>
                <a:lnTo>
                  <a:pt x="968509" y="814599"/>
                </a:lnTo>
                <a:lnTo>
                  <a:pt x="968509" y="767897"/>
                </a:lnTo>
                <a:lnTo>
                  <a:pt x="968509" y="721196"/>
                </a:lnTo>
                <a:lnTo>
                  <a:pt x="986056" y="709916"/>
                </a:lnTo>
                <a:cubicBezTo>
                  <a:pt x="1010121" y="694474"/>
                  <a:pt x="1027543" y="674244"/>
                  <a:pt x="1040729" y="646387"/>
                </a:cubicBezTo>
                <a:cubicBezTo>
                  <a:pt x="1051458" y="623736"/>
                  <a:pt x="1051909" y="620928"/>
                  <a:pt x="1053088" y="568311"/>
                </a:cubicBezTo>
                <a:cubicBezTo>
                  <a:pt x="1054416" y="508058"/>
                  <a:pt x="1051934" y="493261"/>
                  <a:pt x="1034964" y="460680"/>
                </a:cubicBezTo>
                <a:cubicBezTo>
                  <a:pt x="1014859" y="422141"/>
                  <a:pt x="967030" y="387603"/>
                  <a:pt x="926571" y="382441"/>
                </a:cubicBezTo>
                <a:cubicBezTo>
                  <a:pt x="873001" y="375605"/>
                  <a:pt x="815019" y="402972"/>
                  <a:pt x="785840" y="448863"/>
                </a:cubicBezTo>
                <a:cubicBezTo>
                  <a:pt x="765009" y="481597"/>
                  <a:pt x="762001" y="496988"/>
                  <a:pt x="763330" y="563508"/>
                </a:cubicBezTo>
                <a:cubicBezTo>
                  <a:pt x="764483" y="621572"/>
                  <a:pt x="764759" y="623412"/>
                  <a:pt x="775638" y="646387"/>
                </a:cubicBezTo>
                <a:cubicBezTo>
                  <a:pt x="788849" y="674244"/>
                  <a:pt x="806271" y="694474"/>
                  <a:pt x="830336" y="709916"/>
                </a:cubicBezTo>
                <a:lnTo>
                  <a:pt x="847883" y="721196"/>
                </a:lnTo>
                <a:lnTo>
                  <a:pt x="847883" y="767897"/>
                </a:lnTo>
                <a:lnTo>
                  <a:pt x="847883" y="814599"/>
                </a:lnTo>
                <a:lnTo>
                  <a:pt x="757389" y="837109"/>
                </a:lnTo>
                <a:cubicBezTo>
                  <a:pt x="659249" y="861525"/>
                  <a:pt x="647517" y="866714"/>
                  <a:pt x="629819" y="893462"/>
                </a:cubicBezTo>
                <a:cubicBezTo>
                  <a:pt x="621246" y="906447"/>
                  <a:pt x="611921" y="941717"/>
                  <a:pt x="615556" y="947583"/>
                </a:cubicBezTo>
                <a:cubicBezTo>
                  <a:pt x="616533" y="949162"/>
                  <a:pt x="622850" y="948936"/>
                  <a:pt x="629569" y="947082"/>
                </a:cubicBezTo>
                <a:cubicBezTo>
                  <a:pt x="650726" y="941241"/>
                  <a:pt x="720665" y="937731"/>
                  <a:pt x="750320" y="941015"/>
                </a:cubicBezTo>
                <a:cubicBezTo>
                  <a:pt x="785515" y="944926"/>
                  <a:pt x="791531" y="946480"/>
                  <a:pt x="873452" y="972575"/>
                </a:cubicBezTo>
                <a:cubicBezTo>
                  <a:pt x="909951" y="984207"/>
                  <a:pt x="953067" y="996064"/>
                  <a:pt x="969236" y="998922"/>
                </a:cubicBezTo>
                <a:cubicBezTo>
                  <a:pt x="985405" y="1001779"/>
                  <a:pt x="1036969" y="1015266"/>
                  <a:pt x="1083795" y="1028852"/>
                </a:cubicBezTo>
                <a:cubicBezTo>
                  <a:pt x="1142053" y="1045773"/>
                  <a:pt x="1173989" y="1053369"/>
                  <a:pt x="1184894" y="1052867"/>
                </a:cubicBezTo>
                <a:lnTo>
                  <a:pt x="1200862" y="1052165"/>
                </a:lnTo>
                <a:close/>
                <a:moveTo>
                  <a:pt x="1423012" y="934899"/>
                </a:moveTo>
                <a:cubicBezTo>
                  <a:pt x="1508518" y="890128"/>
                  <a:pt x="1578507" y="852626"/>
                  <a:pt x="1578582" y="851599"/>
                </a:cubicBezTo>
                <a:cubicBezTo>
                  <a:pt x="1578657" y="850546"/>
                  <a:pt x="1546771" y="841822"/>
                  <a:pt x="1507741" y="832196"/>
                </a:cubicBezTo>
                <a:lnTo>
                  <a:pt x="1436774" y="814699"/>
                </a:lnTo>
                <a:lnTo>
                  <a:pt x="1436774" y="767872"/>
                </a:lnTo>
                <a:lnTo>
                  <a:pt x="1436774" y="721021"/>
                </a:lnTo>
                <a:lnTo>
                  <a:pt x="1450085" y="712824"/>
                </a:lnTo>
                <a:cubicBezTo>
                  <a:pt x="1482171" y="693020"/>
                  <a:pt x="1505209" y="663942"/>
                  <a:pt x="1516489" y="629040"/>
                </a:cubicBezTo>
                <a:cubicBezTo>
                  <a:pt x="1521428" y="613811"/>
                  <a:pt x="1522305" y="599678"/>
                  <a:pt x="1521352" y="552563"/>
                </a:cubicBezTo>
                <a:lnTo>
                  <a:pt x="1520149" y="494770"/>
                </a:lnTo>
                <a:lnTo>
                  <a:pt x="1506863" y="467920"/>
                </a:lnTo>
                <a:cubicBezTo>
                  <a:pt x="1482974" y="419597"/>
                  <a:pt x="1442815" y="389250"/>
                  <a:pt x="1393482" y="382241"/>
                </a:cubicBezTo>
                <a:cubicBezTo>
                  <a:pt x="1373779" y="379443"/>
                  <a:pt x="1334798" y="386046"/>
                  <a:pt x="1313541" y="395770"/>
                </a:cubicBezTo>
                <a:cubicBezTo>
                  <a:pt x="1287521" y="407687"/>
                  <a:pt x="1258167" y="438092"/>
                  <a:pt x="1244179" y="467596"/>
                </a:cubicBezTo>
                <a:lnTo>
                  <a:pt x="1232798" y="491629"/>
                </a:lnTo>
                <a:lnTo>
                  <a:pt x="1232798" y="557258"/>
                </a:lnTo>
                <a:lnTo>
                  <a:pt x="1232798" y="622891"/>
                </a:lnTo>
                <a:lnTo>
                  <a:pt x="1243878" y="645951"/>
                </a:lnTo>
                <a:cubicBezTo>
                  <a:pt x="1258066" y="675423"/>
                  <a:pt x="1276090" y="696003"/>
                  <a:pt x="1300506" y="710618"/>
                </a:cubicBezTo>
                <a:lnTo>
                  <a:pt x="1319908" y="722224"/>
                </a:lnTo>
                <a:lnTo>
                  <a:pt x="1318931" y="768123"/>
                </a:lnTo>
                <a:lnTo>
                  <a:pt x="1317953" y="814022"/>
                </a:lnTo>
                <a:lnTo>
                  <a:pt x="1270124" y="826004"/>
                </a:lnTo>
                <a:cubicBezTo>
                  <a:pt x="1243803" y="832597"/>
                  <a:pt x="1221693" y="838588"/>
                  <a:pt x="1220966" y="839315"/>
                </a:cubicBezTo>
                <a:cubicBezTo>
                  <a:pt x="1220239" y="840042"/>
                  <a:pt x="1224601" y="847563"/>
                  <a:pt x="1230692" y="856036"/>
                </a:cubicBezTo>
                <a:cubicBezTo>
                  <a:pt x="1252150" y="885941"/>
                  <a:pt x="1256963" y="904592"/>
                  <a:pt x="1258643" y="964529"/>
                </a:cubicBezTo>
                <a:cubicBezTo>
                  <a:pt x="1259645" y="999974"/>
                  <a:pt x="1261450" y="1018349"/>
                  <a:pt x="1263882" y="1017547"/>
                </a:cubicBezTo>
                <a:cubicBezTo>
                  <a:pt x="1265912" y="1016870"/>
                  <a:pt x="1337531" y="979695"/>
                  <a:pt x="1423012" y="934899"/>
                </a:cubicBezTo>
                <a:close/>
                <a:moveTo>
                  <a:pt x="518368" y="971848"/>
                </a:moveTo>
                <a:lnTo>
                  <a:pt x="556070" y="963777"/>
                </a:lnTo>
                <a:lnTo>
                  <a:pt x="557925" y="937004"/>
                </a:lnTo>
                <a:cubicBezTo>
                  <a:pt x="560056" y="906397"/>
                  <a:pt x="569682" y="878321"/>
                  <a:pt x="585675" y="856036"/>
                </a:cubicBezTo>
                <a:cubicBezTo>
                  <a:pt x="591767" y="847563"/>
                  <a:pt x="596153" y="840042"/>
                  <a:pt x="595426" y="839315"/>
                </a:cubicBezTo>
                <a:cubicBezTo>
                  <a:pt x="594699" y="838588"/>
                  <a:pt x="572564" y="832597"/>
                  <a:pt x="546269" y="826004"/>
                </a:cubicBezTo>
                <a:lnTo>
                  <a:pt x="498439" y="814022"/>
                </a:lnTo>
                <a:lnTo>
                  <a:pt x="497462" y="768098"/>
                </a:lnTo>
                <a:lnTo>
                  <a:pt x="496459" y="722174"/>
                </a:lnTo>
                <a:lnTo>
                  <a:pt x="509695" y="715105"/>
                </a:lnTo>
                <a:cubicBezTo>
                  <a:pt x="531930" y="703198"/>
                  <a:pt x="558326" y="674420"/>
                  <a:pt x="571411" y="647801"/>
                </a:cubicBezTo>
                <a:cubicBezTo>
                  <a:pt x="583394" y="623432"/>
                  <a:pt x="583594" y="622196"/>
                  <a:pt x="584823" y="569271"/>
                </a:cubicBezTo>
                <a:cubicBezTo>
                  <a:pt x="586577" y="494659"/>
                  <a:pt x="578430" y="467466"/>
                  <a:pt x="542659" y="428325"/>
                </a:cubicBezTo>
                <a:cubicBezTo>
                  <a:pt x="489289" y="369935"/>
                  <a:pt x="398770" y="366561"/>
                  <a:pt x="340788" y="420802"/>
                </a:cubicBezTo>
                <a:cubicBezTo>
                  <a:pt x="303262" y="455900"/>
                  <a:pt x="294538" y="481704"/>
                  <a:pt x="294488" y="557589"/>
                </a:cubicBezTo>
                <a:cubicBezTo>
                  <a:pt x="294463" y="603358"/>
                  <a:pt x="295642" y="616398"/>
                  <a:pt x="301407" y="633116"/>
                </a:cubicBezTo>
                <a:cubicBezTo>
                  <a:pt x="312562" y="665546"/>
                  <a:pt x="332993" y="691291"/>
                  <a:pt x="362748" y="710367"/>
                </a:cubicBezTo>
                <a:lnTo>
                  <a:pt x="379593" y="721196"/>
                </a:lnTo>
                <a:lnTo>
                  <a:pt x="379593" y="768073"/>
                </a:lnTo>
                <a:lnTo>
                  <a:pt x="379593" y="814950"/>
                </a:lnTo>
                <a:lnTo>
                  <a:pt x="352094" y="821342"/>
                </a:lnTo>
                <a:cubicBezTo>
                  <a:pt x="336978" y="824851"/>
                  <a:pt x="322715" y="828737"/>
                  <a:pt x="320383" y="829990"/>
                </a:cubicBezTo>
                <a:cubicBezTo>
                  <a:pt x="318077" y="831219"/>
                  <a:pt x="350490" y="852175"/>
                  <a:pt x="392428" y="876566"/>
                </a:cubicBezTo>
                <a:lnTo>
                  <a:pt x="468684" y="920886"/>
                </a:lnTo>
                <a:lnTo>
                  <a:pt x="467581" y="952095"/>
                </a:lnTo>
                <a:cubicBezTo>
                  <a:pt x="466553" y="981775"/>
                  <a:pt x="466854" y="983229"/>
                  <a:pt x="473597" y="981625"/>
                </a:cubicBezTo>
                <a:cubicBezTo>
                  <a:pt x="477508" y="980697"/>
                  <a:pt x="497662" y="976311"/>
                  <a:pt x="518368" y="971848"/>
                </a:cubicBezTo>
                <a:close/>
                <a:moveTo>
                  <a:pt x="735229" y="782286"/>
                </a:moveTo>
                <a:cubicBezTo>
                  <a:pt x="781830" y="770856"/>
                  <a:pt x="791105" y="767496"/>
                  <a:pt x="791105" y="762132"/>
                </a:cubicBezTo>
                <a:cubicBezTo>
                  <a:pt x="791105" y="758572"/>
                  <a:pt x="781128" y="746339"/>
                  <a:pt x="768945" y="734934"/>
                </a:cubicBezTo>
                <a:cubicBezTo>
                  <a:pt x="743401" y="711044"/>
                  <a:pt x="723146" y="679007"/>
                  <a:pt x="712643" y="645951"/>
                </a:cubicBezTo>
                <a:cubicBezTo>
                  <a:pt x="702340" y="613453"/>
                  <a:pt x="699407" y="527408"/>
                  <a:pt x="707329" y="489854"/>
                </a:cubicBezTo>
                <a:cubicBezTo>
                  <a:pt x="722795" y="416533"/>
                  <a:pt x="776891" y="354631"/>
                  <a:pt x="844073" y="333371"/>
                </a:cubicBezTo>
                <a:cubicBezTo>
                  <a:pt x="931509" y="305706"/>
                  <a:pt x="1023758" y="337750"/>
                  <a:pt x="1074320" y="413357"/>
                </a:cubicBezTo>
                <a:cubicBezTo>
                  <a:pt x="1106557" y="461553"/>
                  <a:pt x="1116383" y="503461"/>
                  <a:pt x="1112899" y="577894"/>
                </a:cubicBezTo>
                <a:cubicBezTo>
                  <a:pt x="1109540" y="649260"/>
                  <a:pt x="1094549" y="686302"/>
                  <a:pt x="1050982" y="730722"/>
                </a:cubicBezTo>
                <a:cubicBezTo>
                  <a:pt x="1036844" y="745136"/>
                  <a:pt x="1025262" y="759550"/>
                  <a:pt x="1025262" y="762733"/>
                </a:cubicBezTo>
                <a:cubicBezTo>
                  <a:pt x="1025262" y="767246"/>
                  <a:pt x="1037972" y="771658"/>
                  <a:pt x="1083795" y="783038"/>
                </a:cubicBezTo>
                <a:lnTo>
                  <a:pt x="1142329" y="797578"/>
                </a:lnTo>
                <a:lnTo>
                  <a:pt x="1200862" y="783038"/>
                </a:lnTo>
                <a:cubicBezTo>
                  <a:pt x="1248315" y="771257"/>
                  <a:pt x="1259395" y="767346"/>
                  <a:pt x="1259395" y="762383"/>
                </a:cubicBezTo>
                <a:cubicBezTo>
                  <a:pt x="1259395" y="759024"/>
                  <a:pt x="1247813" y="744610"/>
                  <a:pt x="1233675" y="730371"/>
                </a:cubicBezTo>
                <a:cubicBezTo>
                  <a:pt x="1191110" y="687530"/>
                  <a:pt x="1175744" y="649232"/>
                  <a:pt x="1172059" y="576771"/>
                </a:cubicBezTo>
                <a:cubicBezTo>
                  <a:pt x="1169602" y="528581"/>
                  <a:pt x="1174039" y="488267"/>
                  <a:pt x="1185370" y="455837"/>
                </a:cubicBezTo>
                <a:lnTo>
                  <a:pt x="1192915" y="434239"/>
                </a:lnTo>
                <a:lnTo>
                  <a:pt x="1176120" y="408752"/>
                </a:lnTo>
                <a:cubicBezTo>
                  <a:pt x="1144259" y="360409"/>
                  <a:pt x="1097457" y="320684"/>
                  <a:pt x="1041356" y="294398"/>
                </a:cubicBezTo>
                <a:cubicBezTo>
                  <a:pt x="989616" y="270148"/>
                  <a:pt x="933389" y="260595"/>
                  <a:pt x="877137" y="266488"/>
                </a:cubicBezTo>
                <a:cubicBezTo>
                  <a:pt x="835023" y="270900"/>
                  <a:pt x="809605" y="278059"/>
                  <a:pt x="770900" y="296386"/>
                </a:cubicBezTo>
                <a:cubicBezTo>
                  <a:pt x="712417" y="324089"/>
                  <a:pt x="665190" y="366568"/>
                  <a:pt x="632627" y="420725"/>
                </a:cubicBezTo>
                <a:lnTo>
                  <a:pt x="621923" y="438513"/>
                </a:lnTo>
                <a:lnTo>
                  <a:pt x="630070" y="460286"/>
                </a:lnTo>
                <a:cubicBezTo>
                  <a:pt x="641576" y="491085"/>
                  <a:pt x="647041" y="537683"/>
                  <a:pt x="644308" y="582093"/>
                </a:cubicBezTo>
                <a:cubicBezTo>
                  <a:pt x="640147" y="650004"/>
                  <a:pt x="624028" y="688784"/>
                  <a:pt x="582692" y="730371"/>
                </a:cubicBezTo>
                <a:cubicBezTo>
                  <a:pt x="568554" y="744610"/>
                  <a:pt x="556973" y="759024"/>
                  <a:pt x="556973" y="762408"/>
                </a:cubicBezTo>
                <a:cubicBezTo>
                  <a:pt x="556973" y="767396"/>
                  <a:pt x="567927" y="771332"/>
                  <a:pt x="614628" y="783164"/>
                </a:cubicBezTo>
                <a:cubicBezTo>
                  <a:pt x="646339" y="791210"/>
                  <a:pt x="673863" y="797377"/>
                  <a:pt x="675818" y="796901"/>
                </a:cubicBezTo>
                <a:cubicBezTo>
                  <a:pt x="677774" y="796399"/>
                  <a:pt x="704521" y="789832"/>
                  <a:pt x="735229" y="782286"/>
                </a:cubicBezTo>
                <a:close/>
                <a:moveTo>
                  <a:pt x="599537" y="364916"/>
                </a:moveTo>
                <a:cubicBezTo>
                  <a:pt x="606381" y="354746"/>
                  <a:pt x="624730" y="333592"/>
                  <a:pt x="640347" y="317907"/>
                </a:cubicBezTo>
                <a:cubicBezTo>
                  <a:pt x="693290" y="264701"/>
                  <a:pt x="760096" y="228656"/>
                  <a:pt x="835450" y="212610"/>
                </a:cubicBezTo>
                <a:cubicBezTo>
                  <a:pt x="864403" y="206451"/>
                  <a:pt x="949909" y="206574"/>
                  <a:pt x="980893" y="212818"/>
                </a:cubicBezTo>
                <a:cubicBezTo>
                  <a:pt x="1071487" y="231072"/>
                  <a:pt x="1161079" y="287961"/>
                  <a:pt x="1213270" y="360364"/>
                </a:cubicBezTo>
                <a:cubicBezTo>
                  <a:pt x="1221693" y="372073"/>
                  <a:pt x="1229038" y="382223"/>
                  <a:pt x="1229614" y="382923"/>
                </a:cubicBezTo>
                <a:cubicBezTo>
                  <a:pt x="1230166" y="383622"/>
                  <a:pt x="1238288" y="377866"/>
                  <a:pt x="1247663" y="370131"/>
                </a:cubicBezTo>
                <a:cubicBezTo>
                  <a:pt x="1257039" y="362395"/>
                  <a:pt x="1271853" y="352245"/>
                  <a:pt x="1280552" y="347572"/>
                </a:cubicBezTo>
                <a:cubicBezTo>
                  <a:pt x="1295191" y="339716"/>
                  <a:pt x="1297523" y="336422"/>
                  <a:pt x="1311460" y="303603"/>
                </a:cubicBezTo>
                <a:cubicBezTo>
                  <a:pt x="1319733" y="284091"/>
                  <a:pt x="1326576" y="265708"/>
                  <a:pt x="1326651" y="262753"/>
                </a:cubicBezTo>
                <a:cubicBezTo>
                  <a:pt x="1326727" y="259800"/>
                  <a:pt x="1306447" y="237066"/>
                  <a:pt x="1281555" y="212237"/>
                </a:cubicBezTo>
                <a:lnTo>
                  <a:pt x="1236307" y="167092"/>
                </a:lnTo>
                <a:lnTo>
                  <a:pt x="1215050" y="181378"/>
                </a:lnTo>
                <a:cubicBezTo>
                  <a:pt x="1203343" y="189234"/>
                  <a:pt x="1184743" y="201219"/>
                  <a:pt x="1173688" y="208013"/>
                </a:cubicBezTo>
                <a:lnTo>
                  <a:pt x="1153609" y="220361"/>
                </a:lnTo>
                <a:lnTo>
                  <a:pt x="1116108" y="200520"/>
                </a:lnTo>
                <a:cubicBezTo>
                  <a:pt x="1079634" y="181213"/>
                  <a:pt x="1032256" y="162891"/>
                  <a:pt x="1006161" y="157992"/>
                </a:cubicBezTo>
                <a:cubicBezTo>
                  <a:pt x="996986" y="156273"/>
                  <a:pt x="992775" y="153385"/>
                  <a:pt x="991546" y="147993"/>
                </a:cubicBezTo>
                <a:cubicBezTo>
                  <a:pt x="990594" y="143824"/>
                  <a:pt x="986608" y="125247"/>
                  <a:pt x="982698" y="106709"/>
                </a:cubicBezTo>
                <a:cubicBezTo>
                  <a:pt x="978762" y="88174"/>
                  <a:pt x="974726" y="69416"/>
                  <a:pt x="973723" y="65024"/>
                </a:cubicBezTo>
                <a:cubicBezTo>
                  <a:pt x="971918" y="57110"/>
                  <a:pt x="971367" y="57042"/>
                  <a:pt x="908196" y="57042"/>
                </a:cubicBezTo>
                <a:cubicBezTo>
                  <a:pt x="845026" y="57042"/>
                  <a:pt x="844449" y="57112"/>
                  <a:pt x="842619" y="65024"/>
                </a:cubicBezTo>
                <a:cubicBezTo>
                  <a:pt x="841591" y="69416"/>
                  <a:pt x="836903" y="91094"/>
                  <a:pt x="832216" y="113202"/>
                </a:cubicBezTo>
                <a:cubicBezTo>
                  <a:pt x="827503" y="135309"/>
                  <a:pt x="823116" y="153733"/>
                  <a:pt x="822464" y="154147"/>
                </a:cubicBezTo>
                <a:cubicBezTo>
                  <a:pt x="821813" y="154561"/>
                  <a:pt x="803714" y="160133"/>
                  <a:pt x="782256" y="166530"/>
                </a:cubicBezTo>
                <a:cubicBezTo>
                  <a:pt x="759419" y="173334"/>
                  <a:pt x="726505" y="186916"/>
                  <a:pt x="702917" y="199249"/>
                </a:cubicBezTo>
                <a:lnTo>
                  <a:pt x="662633" y="220333"/>
                </a:lnTo>
                <a:lnTo>
                  <a:pt x="649698" y="212520"/>
                </a:lnTo>
                <a:cubicBezTo>
                  <a:pt x="642604" y="208223"/>
                  <a:pt x="625282" y="197025"/>
                  <a:pt x="611244" y="187638"/>
                </a:cubicBezTo>
                <a:cubicBezTo>
                  <a:pt x="597181" y="178247"/>
                  <a:pt x="583594" y="170566"/>
                  <a:pt x="581037" y="170566"/>
                </a:cubicBezTo>
                <a:cubicBezTo>
                  <a:pt x="578481" y="170566"/>
                  <a:pt x="556170" y="190921"/>
                  <a:pt x="531453" y="215799"/>
                </a:cubicBezTo>
                <a:lnTo>
                  <a:pt x="486532" y="261031"/>
                </a:lnTo>
                <a:lnTo>
                  <a:pt x="503027" y="300472"/>
                </a:lnTo>
                <a:cubicBezTo>
                  <a:pt x="518168" y="336740"/>
                  <a:pt x="520674" y="340535"/>
                  <a:pt x="534061" y="347637"/>
                </a:cubicBezTo>
                <a:cubicBezTo>
                  <a:pt x="542057" y="351886"/>
                  <a:pt x="556271" y="361675"/>
                  <a:pt x="565596" y="369394"/>
                </a:cubicBezTo>
                <a:cubicBezTo>
                  <a:pt x="574946" y="377109"/>
                  <a:pt x="583594" y="383421"/>
                  <a:pt x="584848" y="383419"/>
                </a:cubicBezTo>
                <a:cubicBezTo>
                  <a:pt x="586101" y="383414"/>
                  <a:pt x="592719" y="375089"/>
                  <a:pt x="599537" y="364916"/>
                </a:cubicBezTo>
                <a:close/>
              </a:path>
            </a:pathLst>
          </a:custGeom>
          <a:solidFill>
            <a:srgbClr val="003F62"/>
          </a:solidFill>
          <a:ln w="3534" cap="flat">
            <a:noFill/>
            <a:prstDash val="solid"/>
            <a:miter/>
          </a:ln>
        </p:spPr>
        <p:txBody>
          <a:bodyPr rtlCol="0" anchor="ctr"/>
          <a:lstStyle/>
          <a:p>
            <a:endParaRPr lang="en-IN" dirty="0">
              <a:solidFill>
                <a:schemeClr val="bg1"/>
              </a:solidFill>
            </a:endParaRPr>
          </a:p>
        </p:txBody>
      </p:sp>
      <p:sp>
        <p:nvSpPr>
          <p:cNvPr id="29" name="Freeform: Shape 28">
            <a:extLst>
              <a:ext uri="{FF2B5EF4-FFF2-40B4-BE49-F238E27FC236}">
                <a16:creationId xmlns:a16="http://schemas.microsoft.com/office/drawing/2014/main" id="{74ED6B13-CC51-4007-AA04-2635B8E4FCDC}"/>
              </a:ext>
            </a:extLst>
          </p:cNvPr>
          <p:cNvSpPr/>
          <p:nvPr/>
        </p:nvSpPr>
        <p:spPr>
          <a:xfrm>
            <a:off x="5483211" y="4351349"/>
            <a:ext cx="457200" cy="457200"/>
          </a:xfrm>
          <a:custGeom>
            <a:avLst/>
            <a:gdLst>
              <a:gd name="connsiteX0" fmla="*/ 1119245 w 1734660"/>
              <a:gd name="connsiteY0" fmla="*/ 1599005 h 1655880"/>
              <a:gd name="connsiteX1" fmla="*/ 1119245 w 1734660"/>
              <a:gd name="connsiteY1" fmla="*/ 1541575 h 1655880"/>
              <a:gd name="connsiteX2" fmla="*/ 559608 w 1734660"/>
              <a:gd name="connsiteY2" fmla="*/ 1541575 h 1655880"/>
              <a:gd name="connsiteX3" fmla="*/ -54 w 1734660"/>
              <a:gd name="connsiteY3" fmla="*/ 1541575 h 1655880"/>
              <a:gd name="connsiteX4" fmla="*/ 1124 w 1734660"/>
              <a:gd name="connsiteY4" fmla="*/ 1343063 h 1655880"/>
              <a:gd name="connsiteX5" fmla="*/ 10073 w 1734660"/>
              <a:gd name="connsiteY5" fmla="*/ 1117680 h 1655880"/>
              <a:gd name="connsiteX6" fmla="*/ 146868 w 1734660"/>
              <a:gd name="connsiteY6" fmla="*/ 940050 h 1655880"/>
              <a:gd name="connsiteX7" fmla="*/ 165167 w 1734660"/>
              <a:gd name="connsiteY7" fmla="*/ 903175 h 1655880"/>
              <a:gd name="connsiteX8" fmla="*/ 173114 w 1734660"/>
              <a:gd name="connsiteY8" fmla="*/ 764701 h 1655880"/>
              <a:gd name="connsiteX9" fmla="*/ 196126 w 1734660"/>
              <a:gd name="connsiteY9" fmla="*/ 720030 h 1655880"/>
              <a:gd name="connsiteX10" fmla="*/ 169253 w 1734660"/>
              <a:gd name="connsiteY10" fmla="*/ 673354 h 1655880"/>
              <a:gd name="connsiteX11" fmla="*/ 144837 w 1734660"/>
              <a:gd name="connsiteY11" fmla="*/ 632870 h 1655880"/>
              <a:gd name="connsiteX12" fmla="*/ 168175 w 1734660"/>
              <a:gd name="connsiteY12" fmla="*/ 536334 h 1655880"/>
              <a:gd name="connsiteX13" fmla="*/ 187026 w 1734660"/>
              <a:gd name="connsiteY13" fmla="*/ 513046 h 1655880"/>
              <a:gd name="connsiteX14" fmla="*/ 196126 w 1734660"/>
              <a:gd name="connsiteY14" fmla="*/ 499911 h 1655880"/>
              <a:gd name="connsiteX15" fmla="*/ 196126 w 1734660"/>
              <a:gd name="connsiteY15" fmla="*/ 392420 h 1655880"/>
              <a:gd name="connsiteX16" fmla="*/ 199987 w 1734660"/>
              <a:gd name="connsiteY16" fmla="*/ 267032 h 1655880"/>
              <a:gd name="connsiteX17" fmla="*/ 294868 w 1734660"/>
              <a:gd name="connsiteY17" fmla="*/ 149564 h 1655880"/>
              <a:gd name="connsiteX18" fmla="*/ 350819 w 1734660"/>
              <a:gd name="connsiteY18" fmla="*/ 107175 h 1655880"/>
              <a:gd name="connsiteX19" fmla="*/ 520903 w 1734660"/>
              <a:gd name="connsiteY19" fmla="*/ 11742 h 1655880"/>
              <a:gd name="connsiteX20" fmla="*/ 610470 w 1734660"/>
              <a:gd name="connsiteY20" fmla="*/ 3069 h 1655880"/>
              <a:gd name="connsiteX21" fmla="*/ 701391 w 1734660"/>
              <a:gd name="connsiteY21" fmla="*/ 11967 h 1655880"/>
              <a:gd name="connsiteX22" fmla="*/ 967786 w 1734660"/>
              <a:gd name="connsiteY22" fmla="*/ 269388 h 1655880"/>
              <a:gd name="connsiteX23" fmla="*/ 978540 w 1734660"/>
              <a:gd name="connsiteY23" fmla="*/ 401169 h 1655880"/>
              <a:gd name="connsiteX24" fmla="*/ 1003006 w 1734660"/>
              <a:gd name="connsiteY24" fmla="*/ 531245 h 1655880"/>
              <a:gd name="connsiteX25" fmla="*/ 1006264 w 1734660"/>
              <a:gd name="connsiteY25" fmla="*/ 673354 h 1655880"/>
              <a:gd name="connsiteX26" fmla="*/ 979392 w 1734660"/>
              <a:gd name="connsiteY26" fmla="*/ 720030 h 1655880"/>
              <a:gd name="connsiteX27" fmla="*/ 1002379 w 1734660"/>
              <a:gd name="connsiteY27" fmla="*/ 764701 h 1655880"/>
              <a:gd name="connsiteX28" fmla="*/ 1010852 w 1734660"/>
              <a:gd name="connsiteY28" fmla="*/ 902548 h 1655880"/>
              <a:gd name="connsiteX29" fmla="*/ 996864 w 1734660"/>
              <a:gd name="connsiteY29" fmla="*/ 921099 h 1655880"/>
              <a:gd name="connsiteX30" fmla="*/ 1037022 w 1734660"/>
              <a:gd name="connsiteY30" fmla="*/ 942857 h 1655880"/>
              <a:gd name="connsiteX31" fmla="*/ 1047601 w 1734660"/>
              <a:gd name="connsiteY31" fmla="*/ 923229 h 1655880"/>
              <a:gd name="connsiteX32" fmla="*/ 1168954 w 1734660"/>
              <a:gd name="connsiteY32" fmla="*/ 790470 h 1655880"/>
              <a:gd name="connsiteX33" fmla="*/ 1281859 w 1734660"/>
              <a:gd name="connsiteY33" fmla="*/ 742240 h 1655880"/>
              <a:gd name="connsiteX34" fmla="*/ 1697030 w 1734660"/>
              <a:gd name="connsiteY34" fmla="*/ 928293 h 1655880"/>
              <a:gd name="connsiteX35" fmla="*/ 1732476 w 1734660"/>
              <a:gd name="connsiteY35" fmla="*/ 1085417 h 1655880"/>
              <a:gd name="connsiteX36" fmla="*/ 1723176 w 1734660"/>
              <a:gd name="connsiteY36" fmla="*/ 1167188 h 1655880"/>
              <a:gd name="connsiteX37" fmla="*/ 1636943 w 1734660"/>
              <a:gd name="connsiteY37" fmla="*/ 1320101 h 1655880"/>
              <a:gd name="connsiteX38" fmla="*/ 1622780 w 1734660"/>
              <a:gd name="connsiteY38" fmla="*/ 1333437 h 1655880"/>
              <a:gd name="connsiteX39" fmla="*/ 1622780 w 1734660"/>
              <a:gd name="connsiteY39" fmla="*/ 1494949 h 1655880"/>
              <a:gd name="connsiteX40" fmla="*/ 1620173 w 1734660"/>
              <a:gd name="connsiteY40" fmla="*/ 1656360 h 1655880"/>
              <a:gd name="connsiteX41" fmla="*/ 1494283 w 1734660"/>
              <a:gd name="connsiteY41" fmla="*/ 1626353 h 1655880"/>
              <a:gd name="connsiteX42" fmla="*/ 1371025 w 1734660"/>
              <a:gd name="connsiteY42" fmla="*/ 1596448 h 1655880"/>
              <a:gd name="connsiteX43" fmla="*/ 1247767 w 1734660"/>
              <a:gd name="connsiteY43" fmla="*/ 1626353 h 1655880"/>
              <a:gd name="connsiteX44" fmla="*/ 1121877 w 1734660"/>
              <a:gd name="connsiteY44" fmla="*/ 1656360 h 1655880"/>
              <a:gd name="connsiteX45" fmla="*/ 1119245 w 1734660"/>
              <a:gd name="connsiteY45" fmla="*/ 1599005 h 1655880"/>
              <a:gd name="connsiteX46" fmla="*/ 1468939 w 1734660"/>
              <a:gd name="connsiteY46" fmla="*/ 1564386 h 1655880"/>
              <a:gd name="connsiteX47" fmla="*/ 1566828 w 1734660"/>
              <a:gd name="connsiteY47" fmla="*/ 1588050 h 1655880"/>
              <a:gd name="connsiteX48" fmla="*/ 1566828 w 1734660"/>
              <a:gd name="connsiteY48" fmla="*/ 1483443 h 1655880"/>
              <a:gd name="connsiteX49" fmla="*/ 1564222 w 1734660"/>
              <a:gd name="connsiteY49" fmla="*/ 1380113 h 1655880"/>
              <a:gd name="connsiteX50" fmla="*/ 1459414 w 1734660"/>
              <a:gd name="connsiteY50" fmla="*/ 1422302 h 1655880"/>
              <a:gd name="connsiteX51" fmla="*/ 1371025 w 1734660"/>
              <a:gd name="connsiteY51" fmla="*/ 1431101 h 1655880"/>
              <a:gd name="connsiteX52" fmla="*/ 1177828 w 1734660"/>
              <a:gd name="connsiteY52" fmla="*/ 1380113 h 1655880"/>
              <a:gd name="connsiteX53" fmla="*/ 1175196 w 1734660"/>
              <a:gd name="connsiteY53" fmla="*/ 1483443 h 1655880"/>
              <a:gd name="connsiteX54" fmla="*/ 1175196 w 1734660"/>
              <a:gd name="connsiteY54" fmla="*/ 1588050 h 1655880"/>
              <a:gd name="connsiteX55" fmla="*/ 1273110 w 1734660"/>
              <a:gd name="connsiteY55" fmla="*/ 1564386 h 1655880"/>
              <a:gd name="connsiteX56" fmla="*/ 1371025 w 1734660"/>
              <a:gd name="connsiteY56" fmla="*/ 1540722 h 1655880"/>
              <a:gd name="connsiteX57" fmla="*/ 224077 w 1734660"/>
              <a:gd name="connsiteY57" fmla="*/ 1298292 h 1655880"/>
              <a:gd name="connsiteX58" fmla="*/ 224077 w 1734660"/>
              <a:gd name="connsiteY58" fmla="*/ 1109056 h 1655880"/>
              <a:gd name="connsiteX59" fmla="*/ 252052 w 1734660"/>
              <a:gd name="connsiteY59" fmla="*/ 1109056 h 1655880"/>
              <a:gd name="connsiteX60" fmla="*/ 280028 w 1734660"/>
              <a:gd name="connsiteY60" fmla="*/ 1109056 h 1655880"/>
              <a:gd name="connsiteX61" fmla="*/ 280028 w 1734660"/>
              <a:gd name="connsiteY61" fmla="*/ 1298292 h 1655880"/>
              <a:gd name="connsiteX62" fmla="*/ 280028 w 1734660"/>
              <a:gd name="connsiteY62" fmla="*/ 1487503 h 1655880"/>
              <a:gd name="connsiteX63" fmla="*/ 391930 w 1734660"/>
              <a:gd name="connsiteY63" fmla="*/ 1487503 h 1655880"/>
              <a:gd name="connsiteX64" fmla="*/ 503832 w 1734660"/>
              <a:gd name="connsiteY64" fmla="*/ 1487503 h 1655880"/>
              <a:gd name="connsiteX65" fmla="*/ 503832 w 1734660"/>
              <a:gd name="connsiteY65" fmla="*/ 1359608 h 1655880"/>
              <a:gd name="connsiteX66" fmla="*/ 503832 w 1734660"/>
              <a:gd name="connsiteY66" fmla="*/ 1231712 h 1655880"/>
              <a:gd name="connsiteX67" fmla="*/ 524814 w 1734660"/>
              <a:gd name="connsiteY67" fmla="*/ 1214090 h 1655880"/>
              <a:gd name="connsiteX68" fmla="*/ 545796 w 1734660"/>
              <a:gd name="connsiteY68" fmla="*/ 1196442 h 1655880"/>
              <a:gd name="connsiteX69" fmla="*/ 521229 w 1734660"/>
              <a:gd name="connsiteY69" fmla="*/ 1170497 h 1655880"/>
              <a:gd name="connsiteX70" fmla="*/ 379471 w 1734660"/>
              <a:gd name="connsiteY70" fmla="*/ 914054 h 1655880"/>
              <a:gd name="connsiteX71" fmla="*/ 359743 w 1734660"/>
              <a:gd name="connsiteY71" fmla="*/ 916235 h 1655880"/>
              <a:gd name="connsiteX72" fmla="*/ 186851 w 1734660"/>
              <a:gd name="connsiteY72" fmla="*/ 979231 h 1655880"/>
              <a:gd name="connsiteX73" fmla="*/ 80464 w 1734660"/>
              <a:gd name="connsiteY73" fmla="*/ 1090481 h 1655880"/>
              <a:gd name="connsiteX74" fmla="*/ 56248 w 1734660"/>
              <a:gd name="connsiteY74" fmla="*/ 1328549 h 1655880"/>
              <a:gd name="connsiteX75" fmla="*/ 56248 w 1734660"/>
              <a:gd name="connsiteY75" fmla="*/ 1487503 h 1655880"/>
              <a:gd name="connsiteX76" fmla="*/ 140175 w 1734660"/>
              <a:gd name="connsiteY76" fmla="*/ 1487503 h 1655880"/>
              <a:gd name="connsiteX77" fmla="*/ 224077 w 1734660"/>
              <a:gd name="connsiteY77" fmla="*/ 1487503 h 1655880"/>
              <a:gd name="connsiteX78" fmla="*/ 895465 w 1734660"/>
              <a:gd name="connsiteY78" fmla="*/ 1311804 h 1655880"/>
              <a:gd name="connsiteX79" fmla="*/ 895465 w 1734660"/>
              <a:gd name="connsiteY79" fmla="*/ 1136104 h 1655880"/>
              <a:gd name="connsiteX80" fmla="*/ 923440 w 1734660"/>
              <a:gd name="connsiteY80" fmla="*/ 1136104 h 1655880"/>
              <a:gd name="connsiteX81" fmla="*/ 951416 w 1734660"/>
              <a:gd name="connsiteY81" fmla="*/ 1136104 h 1655880"/>
              <a:gd name="connsiteX82" fmla="*/ 951416 w 1734660"/>
              <a:gd name="connsiteY82" fmla="*/ 1311804 h 1655880"/>
              <a:gd name="connsiteX83" fmla="*/ 951416 w 1734660"/>
              <a:gd name="connsiteY83" fmla="*/ 1487503 h 1655880"/>
              <a:gd name="connsiteX84" fmla="*/ 1035343 w 1734660"/>
              <a:gd name="connsiteY84" fmla="*/ 1487503 h 1655880"/>
              <a:gd name="connsiteX85" fmla="*/ 1119245 w 1734660"/>
              <a:gd name="connsiteY85" fmla="*/ 1487503 h 1655880"/>
              <a:gd name="connsiteX86" fmla="*/ 1119245 w 1734660"/>
              <a:gd name="connsiteY86" fmla="*/ 1410470 h 1655880"/>
              <a:gd name="connsiteX87" fmla="*/ 1119245 w 1734660"/>
              <a:gd name="connsiteY87" fmla="*/ 1333437 h 1655880"/>
              <a:gd name="connsiteX88" fmla="*/ 1105106 w 1734660"/>
              <a:gd name="connsiteY88" fmla="*/ 1320101 h 1655880"/>
              <a:gd name="connsiteX89" fmla="*/ 1013810 w 1734660"/>
              <a:gd name="connsiteY89" fmla="*/ 1147911 h 1655880"/>
              <a:gd name="connsiteX90" fmla="*/ 1013609 w 1734660"/>
              <a:gd name="connsiteY90" fmla="*/ 1018236 h 1655880"/>
              <a:gd name="connsiteX91" fmla="*/ 988466 w 1734660"/>
              <a:gd name="connsiteY91" fmla="*/ 979130 h 1655880"/>
              <a:gd name="connsiteX92" fmla="*/ 815750 w 1734660"/>
              <a:gd name="connsiteY92" fmla="*/ 916235 h 1655880"/>
              <a:gd name="connsiteX93" fmla="*/ 796021 w 1734660"/>
              <a:gd name="connsiteY93" fmla="*/ 914054 h 1655880"/>
              <a:gd name="connsiteX94" fmla="*/ 591694 w 1734660"/>
              <a:gd name="connsiteY94" fmla="*/ 1228830 h 1655880"/>
              <a:gd name="connsiteX95" fmla="*/ 559758 w 1734660"/>
              <a:gd name="connsiteY95" fmla="*/ 1255702 h 1655880"/>
              <a:gd name="connsiteX96" fmla="*/ 559758 w 1734660"/>
              <a:gd name="connsiteY96" fmla="*/ 1371590 h 1655880"/>
              <a:gd name="connsiteX97" fmla="*/ 559758 w 1734660"/>
              <a:gd name="connsiteY97" fmla="*/ 1487503 h 1655880"/>
              <a:gd name="connsiteX98" fmla="*/ 727612 w 1734660"/>
              <a:gd name="connsiteY98" fmla="*/ 1487503 h 1655880"/>
              <a:gd name="connsiteX99" fmla="*/ 895440 w 1734660"/>
              <a:gd name="connsiteY99" fmla="*/ 1487503 h 1655880"/>
              <a:gd name="connsiteX100" fmla="*/ 615734 w 1734660"/>
              <a:gd name="connsiteY100" fmla="*/ 1406410 h 1655880"/>
              <a:gd name="connsiteX101" fmla="*/ 615734 w 1734660"/>
              <a:gd name="connsiteY101" fmla="*/ 1379387 h 1655880"/>
              <a:gd name="connsiteX102" fmla="*/ 643710 w 1734660"/>
              <a:gd name="connsiteY102" fmla="*/ 1379387 h 1655880"/>
              <a:gd name="connsiteX103" fmla="*/ 671661 w 1734660"/>
              <a:gd name="connsiteY103" fmla="*/ 1379387 h 1655880"/>
              <a:gd name="connsiteX104" fmla="*/ 671661 w 1734660"/>
              <a:gd name="connsiteY104" fmla="*/ 1406410 h 1655880"/>
              <a:gd name="connsiteX105" fmla="*/ 671661 w 1734660"/>
              <a:gd name="connsiteY105" fmla="*/ 1433432 h 1655880"/>
              <a:gd name="connsiteX106" fmla="*/ 643710 w 1734660"/>
              <a:gd name="connsiteY106" fmla="*/ 1433432 h 1655880"/>
              <a:gd name="connsiteX107" fmla="*/ 615734 w 1734660"/>
              <a:gd name="connsiteY107" fmla="*/ 1433432 h 1655880"/>
              <a:gd name="connsiteX108" fmla="*/ 615734 w 1734660"/>
              <a:gd name="connsiteY108" fmla="*/ 1298292 h 1655880"/>
              <a:gd name="connsiteX109" fmla="*/ 615734 w 1734660"/>
              <a:gd name="connsiteY109" fmla="*/ 1271244 h 1655880"/>
              <a:gd name="connsiteX110" fmla="*/ 643710 w 1734660"/>
              <a:gd name="connsiteY110" fmla="*/ 1271244 h 1655880"/>
              <a:gd name="connsiteX111" fmla="*/ 671661 w 1734660"/>
              <a:gd name="connsiteY111" fmla="*/ 1271244 h 1655880"/>
              <a:gd name="connsiteX112" fmla="*/ 671661 w 1734660"/>
              <a:gd name="connsiteY112" fmla="*/ 1298292 h 1655880"/>
              <a:gd name="connsiteX113" fmla="*/ 671661 w 1734660"/>
              <a:gd name="connsiteY113" fmla="*/ 1325316 h 1655880"/>
              <a:gd name="connsiteX114" fmla="*/ 643710 w 1734660"/>
              <a:gd name="connsiteY114" fmla="*/ 1325316 h 1655880"/>
              <a:gd name="connsiteX115" fmla="*/ 615734 w 1734660"/>
              <a:gd name="connsiteY115" fmla="*/ 1325316 h 1655880"/>
              <a:gd name="connsiteX116" fmla="*/ 1427452 w 1734660"/>
              <a:gd name="connsiteY116" fmla="*/ 1374022 h 1655880"/>
              <a:gd name="connsiteX117" fmla="*/ 1589640 w 1734660"/>
              <a:gd name="connsiteY117" fmla="*/ 1290246 h 1655880"/>
              <a:gd name="connsiteX118" fmla="*/ 1672113 w 1734660"/>
              <a:gd name="connsiteY118" fmla="*/ 1022898 h 1655880"/>
              <a:gd name="connsiteX119" fmla="*/ 1587961 w 1734660"/>
              <a:gd name="connsiteY119" fmla="*/ 872392 h 1655880"/>
              <a:gd name="connsiteX120" fmla="*/ 1153863 w 1734660"/>
              <a:gd name="connsiteY120" fmla="*/ 872166 h 1655880"/>
              <a:gd name="connsiteX121" fmla="*/ 1152384 w 1734660"/>
              <a:gd name="connsiteY121" fmla="*/ 1290246 h 1655880"/>
              <a:gd name="connsiteX122" fmla="*/ 1427452 w 1734660"/>
              <a:gd name="connsiteY122" fmla="*/ 1374022 h 1655880"/>
              <a:gd name="connsiteX123" fmla="*/ 1321566 w 1734660"/>
              <a:gd name="connsiteY123" fmla="*/ 1320201 h 1655880"/>
              <a:gd name="connsiteX124" fmla="*/ 1138296 w 1734660"/>
              <a:gd name="connsiteY124" fmla="*/ 1173480 h 1655880"/>
              <a:gd name="connsiteX125" fmla="*/ 1324775 w 1734660"/>
              <a:gd name="connsiteY125" fmla="*/ 843539 h 1655880"/>
              <a:gd name="connsiteX126" fmla="*/ 1617741 w 1734660"/>
              <a:gd name="connsiteY126" fmla="*/ 1127205 h 1655880"/>
              <a:gd name="connsiteX127" fmla="*/ 1321566 w 1734660"/>
              <a:gd name="connsiteY127" fmla="*/ 1320201 h 1655880"/>
              <a:gd name="connsiteX128" fmla="*/ 1413890 w 1734660"/>
              <a:gd name="connsiteY128" fmla="*/ 1266306 h 1655880"/>
              <a:gd name="connsiteX129" fmla="*/ 1564121 w 1734660"/>
              <a:gd name="connsiteY129" fmla="*/ 1054509 h 1655880"/>
              <a:gd name="connsiteX130" fmla="*/ 1233553 w 1734660"/>
              <a:gd name="connsiteY130" fmla="*/ 948547 h 1655880"/>
              <a:gd name="connsiteX131" fmla="*/ 1285143 w 1734660"/>
              <a:gd name="connsiteY131" fmla="*/ 1251015 h 1655880"/>
              <a:gd name="connsiteX132" fmla="*/ 1413890 w 1734660"/>
              <a:gd name="connsiteY132" fmla="*/ 1266306 h 1655880"/>
              <a:gd name="connsiteX133" fmla="*/ 1307177 w 1734660"/>
              <a:gd name="connsiteY133" fmla="*/ 1211884 h 1655880"/>
              <a:gd name="connsiteX134" fmla="*/ 1259122 w 1734660"/>
              <a:gd name="connsiteY134" fmla="*/ 1167740 h 1655880"/>
              <a:gd name="connsiteX135" fmla="*/ 1266492 w 1734660"/>
              <a:gd name="connsiteY135" fmla="*/ 1139940 h 1655880"/>
              <a:gd name="connsiteX136" fmla="*/ 1272634 w 1734660"/>
              <a:gd name="connsiteY136" fmla="*/ 1117855 h 1655880"/>
              <a:gd name="connsiteX137" fmla="*/ 1251251 w 1734660"/>
              <a:gd name="connsiteY137" fmla="*/ 1102438 h 1655880"/>
              <a:gd name="connsiteX138" fmla="*/ 1231172 w 1734660"/>
              <a:gd name="connsiteY138" fmla="*/ 1077396 h 1655880"/>
              <a:gd name="connsiteX139" fmla="*/ 1247666 w 1734660"/>
              <a:gd name="connsiteY139" fmla="*/ 1020367 h 1655880"/>
              <a:gd name="connsiteX140" fmla="*/ 1256591 w 1734660"/>
              <a:gd name="connsiteY140" fmla="*/ 1000939 h 1655880"/>
              <a:gd name="connsiteX141" fmla="*/ 1283889 w 1734660"/>
              <a:gd name="connsiteY141" fmla="*/ 1000939 h 1655880"/>
              <a:gd name="connsiteX142" fmla="*/ 1311163 w 1734660"/>
              <a:gd name="connsiteY142" fmla="*/ 1000939 h 1655880"/>
              <a:gd name="connsiteX143" fmla="*/ 1319084 w 1734660"/>
              <a:gd name="connsiteY143" fmla="*/ 977175 h 1655880"/>
              <a:gd name="connsiteX144" fmla="*/ 1371025 w 1734660"/>
              <a:gd name="connsiteY144" fmla="*/ 948573 h 1655880"/>
              <a:gd name="connsiteX145" fmla="*/ 1422940 w 1734660"/>
              <a:gd name="connsiteY145" fmla="*/ 977175 h 1655880"/>
              <a:gd name="connsiteX146" fmla="*/ 1430861 w 1734660"/>
              <a:gd name="connsiteY146" fmla="*/ 1000939 h 1655880"/>
              <a:gd name="connsiteX147" fmla="*/ 1456330 w 1734660"/>
              <a:gd name="connsiteY147" fmla="*/ 1000939 h 1655880"/>
              <a:gd name="connsiteX148" fmla="*/ 1481799 w 1734660"/>
              <a:gd name="connsiteY148" fmla="*/ 1000939 h 1655880"/>
              <a:gd name="connsiteX149" fmla="*/ 1490773 w 1734660"/>
              <a:gd name="connsiteY149" fmla="*/ 1016983 h 1655880"/>
              <a:gd name="connsiteX150" fmla="*/ 1510877 w 1734660"/>
              <a:gd name="connsiteY150" fmla="*/ 1078850 h 1655880"/>
              <a:gd name="connsiteX151" fmla="*/ 1490773 w 1734660"/>
              <a:gd name="connsiteY151" fmla="*/ 1102438 h 1655880"/>
              <a:gd name="connsiteX152" fmla="*/ 1469416 w 1734660"/>
              <a:gd name="connsiteY152" fmla="*/ 1117855 h 1655880"/>
              <a:gd name="connsiteX153" fmla="*/ 1475532 w 1734660"/>
              <a:gd name="connsiteY153" fmla="*/ 1139940 h 1655880"/>
              <a:gd name="connsiteX154" fmla="*/ 1482927 w 1734660"/>
              <a:gd name="connsiteY154" fmla="*/ 1167740 h 1655880"/>
              <a:gd name="connsiteX155" fmla="*/ 1411986 w 1734660"/>
              <a:gd name="connsiteY155" fmla="*/ 1218377 h 1655880"/>
              <a:gd name="connsiteX156" fmla="*/ 1389274 w 1734660"/>
              <a:gd name="connsiteY156" fmla="*/ 1202559 h 1655880"/>
              <a:gd name="connsiteX157" fmla="*/ 1370824 w 1734660"/>
              <a:gd name="connsiteY157" fmla="*/ 1189223 h 1655880"/>
              <a:gd name="connsiteX158" fmla="*/ 1349943 w 1734660"/>
              <a:gd name="connsiteY158" fmla="*/ 1204890 h 1655880"/>
              <a:gd name="connsiteX159" fmla="*/ 1326429 w 1734660"/>
              <a:gd name="connsiteY159" fmla="*/ 1220407 h 1655880"/>
              <a:gd name="connsiteX160" fmla="*/ 1307177 w 1734660"/>
              <a:gd name="connsiteY160" fmla="*/ 1211884 h 1655880"/>
              <a:gd name="connsiteX161" fmla="*/ 1347912 w 1734660"/>
              <a:gd name="connsiteY161" fmla="*/ 1139263 h 1655880"/>
              <a:gd name="connsiteX162" fmla="*/ 1371301 w 1734660"/>
              <a:gd name="connsiteY162" fmla="*/ 1122141 h 1655880"/>
              <a:gd name="connsiteX163" fmla="*/ 1395190 w 1734660"/>
              <a:gd name="connsiteY163" fmla="*/ 1139263 h 1655880"/>
              <a:gd name="connsiteX164" fmla="*/ 1421060 w 1734660"/>
              <a:gd name="connsiteY164" fmla="*/ 1156359 h 1655880"/>
              <a:gd name="connsiteX165" fmla="*/ 1414517 w 1734660"/>
              <a:gd name="connsiteY165" fmla="*/ 1132119 h 1655880"/>
              <a:gd name="connsiteX166" fmla="*/ 1405994 w 1734660"/>
              <a:gd name="connsiteY166" fmla="*/ 1101987 h 1655880"/>
              <a:gd name="connsiteX167" fmla="*/ 1428781 w 1734660"/>
              <a:gd name="connsiteY167" fmla="*/ 1079928 h 1655880"/>
              <a:gd name="connsiteX168" fmla="*/ 1450339 w 1734660"/>
              <a:gd name="connsiteY168" fmla="*/ 1060224 h 1655880"/>
              <a:gd name="connsiteX169" fmla="*/ 1419907 w 1734660"/>
              <a:gd name="connsiteY169" fmla="*/ 1055010 h 1655880"/>
              <a:gd name="connsiteX170" fmla="*/ 1390653 w 1734660"/>
              <a:gd name="connsiteY170" fmla="*/ 1053305 h 1655880"/>
              <a:gd name="connsiteX171" fmla="*/ 1381879 w 1734660"/>
              <a:gd name="connsiteY171" fmla="*/ 1027110 h 1655880"/>
              <a:gd name="connsiteX172" fmla="*/ 1370799 w 1734660"/>
              <a:gd name="connsiteY172" fmla="*/ 1000939 h 1655880"/>
              <a:gd name="connsiteX173" fmla="*/ 1360521 w 1734660"/>
              <a:gd name="connsiteY173" fmla="*/ 1027962 h 1655880"/>
              <a:gd name="connsiteX174" fmla="*/ 1352575 w 1734660"/>
              <a:gd name="connsiteY174" fmla="*/ 1054985 h 1655880"/>
              <a:gd name="connsiteX175" fmla="*/ 1321591 w 1734660"/>
              <a:gd name="connsiteY175" fmla="*/ 1054985 h 1655880"/>
              <a:gd name="connsiteX176" fmla="*/ 1290607 w 1734660"/>
              <a:gd name="connsiteY176" fmla="*/ 1059422 h 1655880"/>
              <a:gd name="connsiteX177" fmla="*/ 1313319 w 1734660"/>
              <a:gd name="connsiteY177" fmla="*/ 1079953 h 1655880"/>
              <a:gd name="connsiteX178" fmla="*/ 1336055 w 1734660"/>
              <a:gd name="connsiteY178" fmla="*/ 1101987 h 1655880"/>
              <a:gd name="connsiteX179" fmla="*/ 1327507 w 1734660"/>
              <a:gd name="connsiteY179" fmla="*/ 1132119 h 1655880"/>
              <a:gd name="connsiteX180" fmla="*/ 1321742 w 1734660"/>
              <a:gd name="connsiteY180" fmla="*/ 1156359 h 1655880"/>
              <a:gd name="connsiteX181" fmla="*/ 1347912 w 1734660"/>
              <a:gd name="connsiteY181" fmla="*/ 1139263 h 1655880"/>
              <a:gd name="connsiteX182" fmla="*/ 611874 w 1734660"/>
              <a:gd name="connsiteY182" fmla="*/ 1134751 h 1655880"/>
              <a:gd name="connsiteX183" fmla="*/ 632755 w 1734660"/>
              <a:gd name="connsiteY183" fmla="*/ 1109783 h 1655880"/>
              <a:gd name="connsiteX184" fmla="*/ 587759 w 1734660"/>
              <a:gd name="connsiteY184" fmla="*/ 1048493 h 1655880"/>
              <a:gd name="connsiteX185" fmla="*/ 542762 w 1734660"/>
              <a:gd name="connsiteY185" fmla="*/ 1109783 h 1655880"/>
              <a:gd name="connsiteX186" fmla="*/ 587759 w 1734660"/>
              <a:gd name="connsiteY186" fmla="*/ 1156359 h 1655880"/>
              <a:gd name="connsiteX187" fmla="*/ 611874 w 1734660"/>
              <a:gd name="connsiteY187" fmla="*/ 1134751 h 1655880"/>
              <a:gd name="connsiteX188" fmla="*/ 529903 w 1734660"/>
              <a:gd name="connsiteY188" fmla="*/ 1032876 h 1655880"/>
              <a:gd name="connsiteX189" fmla="*/ 553567 w 1734660"/>
              <a:gd name="connsiteY189" fmla="*/ 1000588 h 1655880"/>
              <a:gd name="connsiteX190" fmla="*/ 513834 w 1734660"/>
              <a:gd name="connsiteY190" fmla="*/ 942882 h 1655880"/>
              <a:gd name="connsiteX191" fmla="*/ 471946 w 1734660"/>
              <a:gd name="connsiteY191" fmla="*/ 881943 h 1655880"/>
              <a:gd name="connsiteX192" fmla="*/ 433893 w 1734660"/>
              <a:gd name="connsiteY192" fmla="*/ 896206 h 1655880"/>
              <a:gd name="connsiteX193" fmla="*/ 460590 w 1734660"/>
              <a:gd name="connsiteY193" fmla="*/ 980484 h 1655880"/>
              <a:gd name="connsiteX194" fmla="*/ 505662 w 1734660"/>
              <a:gd name="connsiteY194" fmla="*/ 1065137 h 1655880"/>
              <a:gd name="connsiteX195" fmla="*/ 529903 w 1734660"/>
              <a:gd name="connsiteY195" fmla="*/ 1032876 h 1655880"/>
              <a:gd name="connsiteX196" fmla="*/ 701441 w 1734660"/>
              <a:gd name="connsiteY196" fmla="*/ 1009086 h 1655880"/>
              <a:gd name="connsiteX197" fmla="*/ 739970 w 1734660"/>
              <a:gd name="connsiteY197" fmla="*/ 904629 h 1655880"/>
              <a:gd name="connsiteX198" fmla="*/ 742176 w 1734660"/>
              <a:gd name="connsiteY198" fmla="*/ 891118 h 1655880"/>
              <a:gd name="connsiteX199" fmla="*/ 723927 w 1734660"/>
              <a:gd name="connsiteY199" fmla="*/ 884901 h 1655880"/>
              <a:gd name="connsiteX200" fmla="*/ 703547 w 1734660"/>
              <a:gd name="connsiteY200" fmla="*/ 881943 h 1655880"/>
              <a:gd name="connsiteX201" fmla="*/ 661658 w 1734660"/>
              <a:gd name="connsiteY201" fmla="*/ 942882 h 1655880"/>
              <a:gd name="connsiteX202" fmla="*/ 621926 w 1734660"/>
              <a:gd name="connsiteY202" fmla="*/ 1000588 h 1655880"/>
              <a:gd name="connsiteX203" fmla="*/ 645715 w 1734660"/>
              <a:gd name="connsiteY203" fmla="*/ 1033051 h 1655880"/>
              <a:gd name="connsiteX204" fmla="*/ 669530 w 1734660"/>
              <a:gd name="connsiteY204" fmla="*/ 1065489 h 1655880"/>
              <a:gd name="connsiteX205" fmla="*/ 677752 w 1734660"/>
              <a:gd name="connsiteY205" fmla="*/ 1052629 h 1655880"/>
              <a:gd name="connsiteX206" fmla="*/ 701441 w 1734660"/>
              <a:gd name="connsiteY206" fmla="*/ 1009086 h 1655880"/>
              <a:gd name="connsiteX207" fmla="*/ 624458 w 1734660"/>
              <a:gd name="connsiteY207" fmla="*/ 899089 h 1655880"/>
              <a:gd name="connsiteX208" fmla="*/ 660706 w 1734660"/>
              <a:gd name="connsiteY208" fmla="*/ 844792 h 1655880"/>
              <a:gd name="connsiteX209" fmla="*/ 655868 w 1734660"/>
              <a:gd name="connsiteY209" fmla="*/ 828473 h 1655880"/>
              <a:gd name="connsiteX210" fmla="*/ 649776 w 1734660"/>
              <a:gd name="connsiteY210" fmla="*/ 815413 h 1655880"/>
              <a:gd name="connsiteX211" fmla="*/ 637117 w 1734660"/>
              <a:gd name="connsiteY211" fmla="*/ 821504 h 1655880"/>
              <a:gd name="connsiteX212" fmla="*/ 606108 w 1734660"/>
              <a:gd name="connsiteY212" fmla="*/ 833838 h 1655880"/>
              <a:gd name="connsiteX213" fmla="*/ 569384 w 1734660"/>
              <a:gd name="connsiteY213" fmla="*/ 833838 h 1655880"/>
              <a:gd name="connsiteX214" fmla="*/ 538376 w 1734660"/>
              <a:gd name="connsiteY214" fmla="*/ 821504 h 1655880"/>
              <a:gd name="connsiteX215" fmla="*/ 525716 w 1734660"/>
              <a:gd name="connsiteY215" fmla="*/ 815413 h 1655880"/>
              <a:gd name="connsiteX216" fmla="*/ 519625 w 1734660"/>
              <a:gd name="connsiteY216" fmla="*/ 828473 h 1655880"/>
              <a:gd name="connsiteX217" fmla="*/ 514787 w 1734660"/>
              <a:gd name="connsiteY217" fmla="*/ 844792 h 1655880"/>
              <a:gd name="connsiteX218" fmla="*/ 587759 w 1734660"/>
              <a:gd name="connsiteY218" fmla="*/ 950102 h 1655880"/>
              <a:gd name="connsiteX219" fmla="*/ 624458 w 1734660"/>
              <a:gd name="connsiteY219" fmla="*/ 899089 h 1655880"/>
              <a:gd name="connsiteX220" fmla="*/ 354654 w 1734660"/>
              <a:gd name="connsiteY220" fmla="*/ 861061 h 1655880"/>
              <a:gd name="connsiteX221" fmla="*/ 455677 w 1734660"/>
              <a:gd name="connsiteY221" fmla="*/ 822958 h 1655880"/>
              <a:gd name="connsiteX222" fmla="*/ 469790 w 1734660"/>
              <a:gd name="connsiteY222" fmla="*/ 801826 h 1655880"/>
              <a:gd name="connsiteX223" fmla="*/ 476709 w 1734660"/>
              <a:gd name="connsiteY223" fmla="*/ 786886 h 1655880"/>
              <a:gd name="connsiteX224" fmla="*/ 466657 w 1734660"/>
              <a:gd name="connsiteY224" fmla="*/ 780168 h 1655880"/>
              <a:gd name="connsiteX225" fmla="*/ 376112 w 1734660"/>
              <a:gd name="connsiteY225" fmla="*/ 688370 h 1655880"/>
              <a:gd name="connsiteX226" fmla="*/ 328709 w 1734660"/>
              <a:gd name="connsiteY226" fmla="*/ 595469 h 1655880"/>
              <a:gd name="connsiteX227" fmla="*/ 309056 w 1734660"/>
              <a:gd name="connsiteY227" fmla="*/ 440876 h 1655880"/>
              <a:gd name="connsiteX228" fmla="*/ 307251 w 1734660"/>
              <a:gd name="connsiteY228" fmla="*/ 352162 h 1655880"/>
              <a:gd name="connsiteX229" fmla="*/ 358490 w 1734660"/>
              <a:gd name="connsiteY229" fmla="*/ 352162 h 1655880"/>
              <a:gd name="connsiteX230" fmla="*/ 565799 w 1734660"/>
              <a:gd name="connsiteY230" fmla="*/ 280242 h 1655880"/>
              <a:gd name="connsiteX231" fmla="*/ 587759 w 1734660"/>
              <a:gd name="connsiteY231" fmla="*/ 259862 h 1655880"/>
              <a:gd name="connsiteX232" fmla="*/ 609718 w 1734660"/>
              <a:gd name="connsiteY232" fmla="*/ 280242 h 1655880"/>
              <a:gd name="connsiteX233" fmla="*/ 817003 w 1734660"/>
              <a:gd name="connsiteY233" fmla="*/ 352162 h 1655880"/>
              <a:gd name="connsiteX234" fmla="*/ 868241 w 1734660"/>
              <a:gd name="connsiteY234" fmla="*/ 352162 h 1655880"/>
              <a:gd name="connsiteX235" fmla="*/ 866462 w 1734660"/>
              <a:gd name="connsiteY235" fmla="*/ 440876 h 1655880"/>
              <a:gd name="connsiteX236" fmla="*/ 846783 w 1734660"/>
              <a:gd name="connsiteY236" fmla="*/ 595469 h 1655880"/>
              <a:gd name="connsiteX237" fmla="*/ 799381 w 1734660"/>
              <a:gd name="connsiteY237" fmla="*/ 688370 h 1655880"/>
              <a:gd name="connsiteX238" fmla="*/ 708836 w 1734660"/>
              <a:gd name="connsiteY238" fmla="*/ 780168 h 1655880"/>
              <a:gd name="connsiteX239" fmla="*/ 698784 w 1734660"/>
              <a:gd name="connsiteY239" fmla="*/ 786886 h 1655880"/>
              <a:gd name="connsiteX240" fmla="*/ 705703 w 1734660"/>
              <a:gd name="connsiteY240" fmla="*/ 801826 h 1655880"/>
              <a:gd name="connsiteX241" fmla="*/ 719640 w 1734660"/>
              <a:gd name="connsiteY241" fmla="*/ 822808 h 1655880"/>
              <a:gd name="connsiteX242" fmla="*/ 936777 w 1734660"/>
              <a:gd name="connsiteY242" fmla="*/ 899490 h 1655880"/>
              <a:gd name="connsiteX243" fmla="*/ 970066 w 1734660"/>
              <a:gd name="connsiteY243" fmla="*/ 864471 h 1655880"/>
              <a:gd name="connsiteX244" fmla="*/ 978490 w 1734660"/>
              <a:gd name="connsiteY244" fmla="*/ 834790 h 1655880"/>
              <a:gd name="connsiteX245" fmla="*/ 958736 w 1734660"/>
              <a:gd name="connsiteY245" fmla="*/ 797916 h 1655880"/>
              <a:gd name="connsiteX246" fmla="*/ 924819 w 1734660"/>
              <a:gd name="connsiteY246" fmla="*/ 732915 h 1655880"/>
              <a:gd name="connsiteX247" fmla="*/ 947430 w 1734660"/>
              <a:gd name="connsiteY247" fmla="*/ 659216 h 1655880"/>
              <a:gd name="connsiteX248" fmla="*/ 978464 w 1734660"/>
              <a:gd name="connsiteY248" fmla="*/ 601510 h 1655880"/>
              <a:gd name="connsiteX249" fmla="*/ 966808 w 1734660"/>
              <a:gd name="connsiteY249" fmla="*/ 573509 h 1655880"/>
              <a:gd name="connsiteX250" fmla="*/ 945375 w 1734660"/>
              <a:gd name="connsiteY250" fmla="*/ 547865 h 1655880"/>
              <a:gd name="connsiteX251" fmla="*/ 923440 w 1734660"/>
              <a:gd name="connsiteY251" fmla="*/ 416210 h 1655880"/>
              <a:gd name="connsiteX252" fmla="*/ 918126 w 1734660"/>
              <a:gd name="connsiteY252" fmla="*/ 303330 h 1655880"/>
              <a:gd name="connsiteX253" fmla="*/ 666346 w 1734660"/>
              <a:gd name="connsiteY253" fmla="*/ 59722 h 1655880"/>
              <a:gd name="connsiteX254" fmla="*/ 371124 w 1734660"/>
              <a:gd name="connsiteY254" fmla="*/ 164103 h 1655880"/>
              <a:gd name="connsiteX255" fmla="*/ 343148 w 1734660"/>
              <a:gd name="connsiteY255" fmla="*/ 188820 h 1655880"/>
              <a:gd name="connsiteX256" fmla="*/ 281557 w 1734660"/>
              <a:gd name="connsiteY256" fmla="*/ 225520 h 1655880"/>
              <a:gd name="connsiteX257" fmla="*/ 261753 w 1734660"/>
              <a:gd name="connsiteY257" fmla="*/ 256152 h 1655880"/>
              <a:gd name="connsiteX258" fmla="*/ 252052 w 1734660"/>
              <a:gd name="connsiteY258" fmla="*/ 392721 h 1655880"/>
              <a:gd name="connsiteX259" fmla="*/ 219113 w 1734660"/>
              <a:gd name="connsiteY259" fmla="*/ 561377 h 1655880"/>
              <a:gd name="connsiteX260" fmla="*/ 196126 w 1734660"/>
              <a:gd name="connsiteY260" fmla="*/ 607000 h 1655880"/>
              <a:gd name="connsiteX261" fmla="*/ 228087 w 1734660"/>
              <a:gd name="connsiteY261" fmla="*/ 659216 h 1655880"/>
              <a:gd name="connsiteX262" fmla="*/ 250698 w 1734660"/>
              <a:gd name="connsiteY262" fmla="*/ 732915 h 1655880"/>
              <a:gd name="connsiteX263" fmla="*/ 216857 w 1734660"/>
              <a:gd name="connsiteY263" fmla="*/ 797816 h 1655880"/>
              <a:gd name="connsiteX264" fmla="*/ 197028 w 1734660"/>
              <a:gd name="connsiteY264" fmla="*/ 833362 h 1655880"/>
              <a:gd name="connsiteX265" fmla="*/ 220016 w 1734660"/>
              <a:gd name="connsiteY265" fmla="*/ 883221 h 1655880"/>
              <a:gd name="connsiteX266" fmla="*/ 235933 w 1734660"/>
              <a:gd name="connsiteY266" fmla="*/ 902373 h 1655880"/>
              <a:gd name="connsiteX267" fmla="*/ 248367 w 1734660"/>
              <a:gd name="connsiteY267" fmla="*/ 897685 h 1655880"/>
              <a:gd name="connsiteX268" fmla="*/ 354654 w 1734660"/>
              <a:gd name="connsiteY268" fmla="*/ 861061 h 1655880"/>
              <a:gd name="connsiteX269" fmla="*/ 627140 w 1734660"/>
              <a:gd name="connsiteY269" fmla="*/ 765453 h 1655880"/>
              <a:gd name="connsiteX270" fmla="*/ 775616 w 1734660"/>
              <a:gd name="connsiteY270" fmla="*/ 620812 h 1655880"/>
              <a:gd name="connsiteX271" fmla="*/ 811538 w 1734660"/>
              <a:gd name="connsiteY271" fmla="*/ 453611 h 1655880"/>
              <a:gd name="connsiteX272" fmla="*/ 811538 w 1734660"/>
              <a:gd name="connsiteY272" fmla="*/ 407261 h 1655880"/>
              <a:gd name="connsiteX273" fmla="*/ 775691 w 1734660"/>
              <a:gd name="connsiteY273" fmla="*/ 405205 h 1655880"/>
              <a:gd name="connsiteX274" fmla="*/ 610044 w 1734660"/>
              <a:gd name="connsiteY274" fmla="*/ 350557 h 1655880"/>
              <a:gd name="connsiteX275" fmla="*/ 587759 w 1734660"/>
              <a:gd name="connsiteY275" fmla="*/ 335517 h 1655880"/>
              <a:gd name="connsiteX276" fmla="*/ 565449 w 1734660"/>
              <a:gd name="connsiteY276" fmla="*/ 350557 h 1655880"/>
              <a:gd name="connsiteX277" fmla="*/ 399801 w 1734660"/>
              <a:gd name="connsiteY277" fmla="*/ 405205 h 1655880"/>
              <a:gd name="connsiteX278" fmla="*/ 363954 w 1734660"/>
              <a:gd name="connsiteY278" fmla="*/ 407261 h 1655880"/>
              <a:gd name="connsiteX279" fmla="*/ 363954 w 1734660"/>
              <a:gd name="connsiteY279" fmla="*/ 453611 h 1655880"/>
              <a:gd name="connsiteX280" fmla="*/ 399901 w 1734660"/>
              <a:gd name="connsiteY280" fmla="*/ 620812 h 1655880"/>
              <a:gd name="connsiteX281" fmla="*/ 491574 w 1734660"/>
              <a:gd name="connsiteY281" fmla="*/ 730609 h 1655880"/>
              <a:gd name="connsiteX282" fmla="*/ 587182 w 1734660"/>
              <a:gd name="connsiteY282" fmla="*/ 781246 h 1655880"/>
              <a:gd name="connsiteX283" fmla="*/ 627140 w 1734660"/>
              <a:gd name="connsiteY283" fmla="*/ 765453 h 1655880"/>
              <a:gd name="connsiteX284" fmla="*/ 1340592 w 1734660"/>
              <a:gd name="connsiteY284" fmla="*/ 671198 h 1655880"/>
              <a:gd name="connsiteX285" fmla="*/ 1312041 w 1734660"/>
              <a:gd name="connsiteY285" fmla="*/ 652548 h 1655880"/>
              <a:gd name="connsiteX286" fmla="*/ 1287098 w 1734660"/>
              <a:gd name="connsiteY286" fmla="*/ 561076 h 1655880"/>
              <a:gd name="connsiteX287" fmla="*/ 1287098 w 1734660"/>
              <a:gd name="connsiteY287" fmla="*/ 514375 h 1655880"/>
              <a:gd name="connsiteX288" fmla="*/ 1195300 w 1734660"/>
              <a:gd name="connsiteY288" fmla="*/ 514350 h 1655880"/>
              <a:gd name="connsiteX289" fmla="*/ 1085829 w 1734660"/>
              <a:gd name="connsiteY289" fmla="*/ 506353 h 1655880"/>
              <a:gd name="connsiteX290" fmla="*/ 1039379 w 1734660"/>
              <a:gd name="connsiteY290" fmla="*/ 457396 h 1655880"/>
              <a:gd name="connsiteX291" fmla="*/ 1039579 w 1734660"/>
              <a:gd name="connsiteY291" fmla="*/ 56914 h 1655880"/>
              <a:gd name="connsiteX292" fmla="*/ 1093450 w 1734660"/>
              <a:gd name="connsiteY292" fmla="*/ 4874 h 1655880"/>
              <a:gd name="connsiteX293" fmla="*/ 1675748 w 1734660"/>
              <a:gd name="connsiteY293" fmla="*/ 4698 h 1655880"/>
              <a:gd name="connsiteX294" fmla="*/ 1726385 w 1734660"/>
              <a:gd name="connsiteY294" fmla="*/ 49594 h 1655880"/>
              <a:gd name="connsiteX295" fmla="*/ 1734607 w 1734660"/>
              <a:gd name="connsiteY295" fmla="*/ 66665 h 1655880"/>
              <a:gd name="connsiteX296" fmla="*/ 1734607 w 1734660"/>
              <a:gd name="connsiteY296" fmla="*/ 257581 h 1655880"/>
              <a:gd name="connsiteX297" fmla="*/ 1734607 w 1734660"/>
              <a:gd name="connsiteY297" fmla="*/ 448497 h 1655880"/>
              <a:gd name="connsiteX298" fmla="*/ 1726360 w 1734660"/>
              <a:gd name="connsiteY298" fmla="*/ 465393 h 1655880"/>
              <a:gd name="connsiteX299" fmla="*/ 1682240 w 1734660"/>
              <a:gd name="connsiteY299" fmla="*/ 507356 h 1655880"/>
              <a:gd name="connsiteX300" fmla="*/ 1596358 w 1734660"/>
              <a:gd name="connsiteY300" fmla="*/ 514299 h 1655880"/>
              <a:gd name="connsiteX301" fmla="*/ 1526219 w 1734660"/>
              <a:gd name="connsiteY301" fmla="*/ 514375 h 1655880"/>
              <a:gd name="connsiteX302" fmla="*/ 1477462 w 1734660"/>
              <a:gd name="connsiteY302" fmla="*/ 584414 h 1655880"/>
              <a:gd name="connsiteX303" fmla="*/ 1412436 w 1734660"/>
              <a:gd name="connsiteY303" fmla="*/ 664104 h 1655880"/>
              <a:gd name="connsiteX304" fmla="*/ 1340618 w 1734660"/>
              <a:gd name="connsiteY304" fmla="*/ 671224 h 1655880"/>
              <a:gd name="connsiteX305" fmla="*/ 1383483 w 1734660"/>
              <a:gd name="connsiteY305" fmla="*/ 617729 h 1655880"/>
              <a:gd name="connsiteX306" fmla="*/ 1442844 w 1734660"/>
              <a:gd name="connsiteY306" fmla="*/ 536710 h 1655880"/>
              <a:gd name="connsiteX307" fmla="*/ 1495160 w 1734660"/>
              <a:gd name="connsiteY307" fmla="*/ 460454 h 1655880"/>
              <a:gd name="connsiteX308" fmla="*/ 1578360 w 1734660"/>
              <a:gd name="connsiteY308" fmla="*/ 460379 h 1655880"/>
              <a:gd name="connsiteX309" fmla="*/ 1661560 w 1734660"/>
              <a:gd name="connsiteY309" fmla="*/ 460304 h 1655880"/>
              <a:gd name="connsiteX310" fmla="*/ 1670158 w 1734660"/>
              <a:gd name="connsiteY310" fmla="*/ 452006 h 1655880"/>
              <a:gd name="connsiteX311" fmla="*/ 1678731 w 1734660"/>
              <a:gd name="connsiteY311" fmla="*/ 443734 h 1655880"/>
              <a:gd name="connsiteX312" fmla="*/ 1678731 w 1734660"/>
              <a:gd name="connsiteY312" fmla="*/ 257581 h 1655880"/>
              <a:gd name="connsiteX313" fmla="*/ 1678731 w 1734660"/>
              <a:gd name="connsiteY313" fmla="*/ 71428 h 1655880"/>
              <a:gd name="connsiteX314" fmla="*/ 1670158 w 1734660"/>
              <a:gd name="connsiteY314" fmla="*/ 63131 h 1655880"/>
              <a:gd name="connsiteX315" fmla="*/ 1661560 w 1734660"/>
              <a:gd name="connsiteY315" fmla="*/ 54833 h 1655880"/>
              <a:gd name="connsiteX316" fmla="*/ 1385013 w 1734660"/>
              <a:gd name="connsiteY316" fmla="*/ 54833 h 1655880"/>
              <a:gd name="connsiteX317" fmla="*/ 1108440 w 1734660"/>
              <a:gd name="connsiteY317" fmla="*/ 54833 h 1655880"/>
              <a:gd name="connsiteX318" fmla="*/ 1099867 w 1734660"/>
              <a:gd name="connsiteY318" fmla="*/ 63131 h 1655880"/>
              <a:gd name="connsiteX319" fmla="*/ 1091269 w 1734660"/>
              <a:gd name="connsiteY319" fmla="*/ 71428 h 1655880"/>
              <a:gd name="connsiteX320" fmla="*/ 1091269 w 1734660"/>
              <a:gd name="connsiteY320" fmla="*/ 257581 h 1655880"/>
              <a:gd name="connsiteX321" fmla="*/ 1091269 w 1734660"/>
              <a:gd name="connsiteY321" fmla="*/ 443734 h 1655880"/>
              <a:gd name="connsiteX322" fmla="*/ 1099867 w 1734660"/>
              <a:gd name="connsiteY322" fmla="*/ 452006 h 1655880"/>
              <a:gd name="connsiteX323" fmla="*/ 1108440 w 1734660"/>
              <a:gd name="connsiteY323" fmla="*/ 460304 h 1655880"/>
              <a:gd name="connsiteX324" fmla="*/ 1225757 w 1734660"/>
              <a:gd name="connsiteY324" fmla="*/ 460304 h 1655880"/>
              <a:gd name="connsiteX325" fmla="*/ 1343049 w 1734660"/>
              <a:gd name="connsiteY325" fmla="*/ 460304 h 1655880"/>
              <a:gd name="connsiteX326" fmla="*/ 1343049 w 1734660"/>
              <a:gd name="connsiteY326" fmla="*/ 533100 h 1655880"/>
              <a:gd name="connsiteX327" fmla="*/ 1351622 w 1734660"/>
              <a:gd name="connsiteY327" fmla="*/ 614220 h 1655880"/>
              <a:gd name="connsiteX328" fmla="*/ 1383483 w 1734660"/>
              <a:gd name="connsiteY328" fmla="*/ 617754 h 1655880"/>
              <a:gd name="connsiteX329" fmla="*/ 1290583 w 1734660"/>
              <a:gd name="connsiteY329" fmla="*/ 340355 h 1655880"/>
              <a:gd name="connsiteX330" fmla="*/ 1239971 w 1734660"/>
              <a:gd name="connsiteY330" fmla="*/ 291347 h 1655880"/>
              <a:gd name="connsiteX331" fmla="*/ 1260025 w 1734660"/>
              <a:gd name="connsiteY331" fmla="*/ 271970 h 1655880"/>
              <a:gd name="connsiteX332" fmla="*/ 1280079 w 1734660"/>
              <a:gd name="connsiteY332" fmla="*/ 252593 h 1655880"/>
              <a:gd name="connsiteX333" fmla="*/ 1311589 w 1734660"/>
              <a:gd name="connsiteY333" fmla="*/ 282900 h 1655880"/>
              <a:gd name="connsiteX334" fmla="*/ 1343099 w 1734660"/>
              <a:gd name="connsiteY334" fmla="*/ 313231 h 1655880"/>
              <a:gd name="connsiteX335" fmla="*/ 1444473 w 1734660"/>
              <a:gd name="connsiteY335" fmla="*/ 215317 h 1655880"/>
              <a:gd name="connsiteX336" fmla="*/ 1545847 w 1734660"/>
              <a:gd name="connsiteY336" fmla="*/ 117402 h 1655880"/>
              <a:gd name="connsiteX337" fmla="*/ 1565926 w 1734660"/>
              <a:gd name="connsiteY337" fmla="*/ 136805 h 1655880"/>
              <a:gd name="connsiteX338" fmla="*/ 1586005 w 1734660"/>
              <a:gd name="connsiteY338" fmla="*/ 156207 h 1655880"/>
              <a:gd name="connsiteX339" fmla="*/ 1465430 w 1734660"/>
              <a:gd name="connsiteY339" fmla="*/ 272772 h 1655880"/>
              <a:gd name="connsiteX340" fmla="*/ 1343024 w 1734660"/>
              <a:gd name="connsiteY340" fmla="*/ 389337 h 1655880"/>
              <a:gd name="connsiteX341" fmla="*/ 1290583 w 1734660"/>
              <a:gd name="connsiteY341" fmla="*/ 340355 h 16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734660" h="1655880">
                <a:moveTo>
                  <a:pt x="1119245" y="1599005"/>
                </a:moveTo>
                <a:lnTo>
                  <a:pt x="1119245" y="1541575"/>
                </a:lnTo>
                <a:lnTo>
                  <a:pt x="559608" y="1541575"/>
                </a:lnTo>
                <a:lnTo>
                  <a:pt x="-54" y="1541575"/>
                </a:lnTo>
                <a:lnTo>
                  <a:pt x="1124" y="1343063"/>
                </a:lnTo>
                <a:cubicBezTo>
                  <a:pt x="2277" y="1150042"/>
                  <a:pt x="2528" y="1143800"/>
                  <a:pt x="10073" y="1117680"/>
                </a:cubicBezTo>
                <a:cubicBezTo>
                  <a:pt x="31381" y="1044081"/>
                  <a:pt x="85603" y="973666"/>
                  <a:pt x="146868" y="940050"/>
                </a:cubicBezTo>
                <a:cubicBezTo>
                  <a:pt x="183116" y="920171"/>
                  <a:pt x="181587" y="923254"/>
                  <a:pt x="165167" y="903175"/>
                </a:cubicBezTo>
                <a:cubicBezTo>
                  <a:pt x="129922" y="860084"/>
                  <a:pt x="132880" y="808469"/>
                  <a:pt x="173114" y="764701"/>
                </a:cubicBezTo>
                <a:cubicBezTo>
                  <a:pt x="191137" y="745073"/>
                  <a:pt x="196126" y="735422"/>
                  <a:pt x="196126" y="720030"/>
                </a:cubicBezTo>
                <a:cubicBezTo>
                  <a:pt x="196126" y="707020"/>
                  <a:pt x="192265" y="700352"/>
                  <a:pt x="169253" y="673354"/>
                </a:cubicBezTo>
                <a:cubicBezTo>
                  <a:pt x="156619" y="658564"/>
                  <a:pt x="148522" y="645128"/>
                  <a:pt x="144837" y="632870"/>
                </a:cubicBezTo>
                <a:cubicBezTo>
                  <a:pt x="134735" y="599354"/>
                  <a:pt x="143885" y="561527"/>
                  <a:pt x="168175" y="536334"/>
                </a:cubicBezTo>
                <a:cubicBezTo>
                  <a:pt x="173540" y="530744"/>
                  <a:pt x="182038" y="520266"/>
                  <a:pt x="187026" y="513046"/>
                </a:cubicBezTo>
                <a:lnTo>
                  <a:pt x="196126" y="499911"/>
                </a:lnTo>
                <a:lnTo>
                  <a:pt x="196126" y="392420"/>
                </a:lnTo>
                <a:cubicBezTo>
                  <a:pt x="196126" y="326993"/>
                  <a:pt x="197630" y="277911"/>
                  <a:pt x="199987" y="267032"/>
                </a:cubicBezTo>
                <a:cubicBezTo>
                  <a:pt x="210390" y="218827"/>
                  <a:pt x="248668" y="171448"/>
                  <a:pt x="294868" y="149564"/>
                </a:cubicBezTo>
                <a:cubicBezTo>
                  <a:pt x="312164" y="141367"/>
                  <a:pt x="327080" y="130062"/>
                  <a:pt x="350819" y="107175"/>
                </a:cubicBezTo>
                <a:cubicBezTo>
                  <a:pt x="400979" y="58819"/>
                  <a:pt x="454198" y="28938"/>
                  <a:pt x="520903" y="11742"/>
                </a:cubicBezTo>
                <a:cubicBezTo>
                  <a:pt x="550358" y="4146"/>
                  <a:pt x="561488" y="3069"/>
                  <a:pt x="610470" y="3069"/>
                </a:cubicBezTo>
                <a:cubicBezTo>
                  <a:pt x="659728" y="3069"/>
                  <a:pt x="670608" y="4146"/>
                  <a:pt x="701391" y="11967"/>
                </a:cubicBezTo>
                <a:cubicBezTo>
                  <a:pt x="831467" y="45057"/>
                  <a:pt x="933568" y="143724"/>
                  <a:pt x="967786" y="269388"/>
                </a:cubicBezTo>
                <a:cubicBezTo>
                  <a:pt x="976459" y="301249"/>
                  <a:pt x="977060" y="308794"/>
                  <a:pt x="978540" y="401169"/>
                </a:cubicBezTo>
                <a:cubicBezTo>
                  <a:pt x="980269" y="508384"/>
                  <a:pt x="979768" y="505702"/>
                  <a:pt x="1003006" y="531245"/>
                </a:cubicBezTo>
                <a:cubicBezTo>
                  <a:pt x="1044843" y="577194"/>
                  <a:pt x="1045971" y="626828"/>
                  <a:pt x="1006264" y="673354"/>
                </a:cubicBezTo>
                <a:cubicBezTo>
                  <a:pt x="983227" y="700352"/>
                  <a:pt x="979392" y="707020"/>
                  <a:pt x="979392" y="720030"/>
                </a:cubicBezTo>
                <a:cubicBezTo>
                  <a:pt x="979392" y="735422"/>
                  <a:pt x="984355" y="745073"/>
                  <a:pt x="1002379" y="764701"/>
                </a:cubicBezTo>
                <a:cubicBezTo>
                  <a:pt x="1042362" y="808193"/>
                  <a:pt x="1045545" y="860134"/>
                  <a:pt x="1010852" y="902548"/>
                </a:cubicBezTo>
                <a:cubicBezTo>
                  <a:pt x="1003156" y="911949"/>
                  <a:pt x="996864" y="920296"/>
                  <a:pt x="996864" y="921099"/>
                </a:cubicBezTo>
                <a:cubicBezTo>
                  <a:pt x="996864" y="923104"/>
                  <a:pt x="1035794" y="944211"/>
                  <a:pt x="1037022" y="942857"/>
                </a:cubicBezTo>
                <a:cubicBezTo>
                  <a:pt x="1037549" y="942280"/>
                  <a:pt x="1042312" y="933432"/>
                  <a:pt x="1047601" y="923229"/>
                </a:cubicBezTo>
                <a:cubicBezTo>
                  <a:pt x="1072192" y="875726"/>
                  <a:pt x="1123707" y="819349"/>
                  <a:pt x="1168954" y="790470"/>
                </a:cubicBezTo>
                <a:cubicBezTo>
                  <a:pt x="1201016" y="770015"/>
                  <a:pt x="1244257" y="751540"/>
                  <a:pt x="1281859" y="742240"/>
                </a:cubicBezTo>
                <a:cubicBezTo>
                  <a:pt x="1447932" y="701179"/>
                  <a:pt x="1619646" y="778137"/>
                  <a:pt x="1697030" y="928293"/>
                </a:cubicBezTo>
                <a:cubicBezTo>
                  <a:pt x="1723602" y="979857"/>
                  <a:pt x="1732902" y="1021094"/>
                  <a:pt x="1732476" y="1085417"/>
                </a:cubicBezTo>
                <a:cubicBezTo>
                  <a:pt x="1732200" y="1126578"/>
                  <a:pt x="1730721" y="1139639"/>
                  <a:pt x="1723176" y="1167188"/>
                </a:cubicBezTo>
                <a:cubicBezTo>
                  <a:pt x="1707659" y="1223791"/>
                  <a:pt x="1672038" y="1286987"/>
                  <a:pt x="1636943" y="1320101"/>
                </a:cubicBezTo>
                <a:lnTo>
                  <a:pt x="1622780" y="1333437"/>
                </a:lnTo>
                <a:lnTo>
                  <a:pt x="1622780" y="1494949"/>
                </a:lnTo>
                <a:cubicBezTo>
                  <a:pt x="1622780" y="1583788"/>
                  <a:pt x="1621602" y="1656410"/>
                  <a:pt x="1620173" y="1656360"/>
                </a:cubicBezTo>
                <a:cubicBezTo>
                  <a:pt x="1618719" y="1656310"/>
                  <a:pt x="1562066" y="1642798"/>
                  <a:pt x="1494283" y="1626353"/>
                </a:cubicBezTo>
                <a:lnTo>
                  <a:pt x="1371025" y="1596448"/>
                </a:lnTo>
                <a:lnTo>
                  <a:pt x="1247767" y="1626353"/>
                </a:lnTo>
                <a:cubicBezTo>
                  <a:pt x="1179958" y="1642798"/>
                  <a:pt x="1123331" y="1656310"/>
                  <a:pt x="1121877" y="1656360"/>
                </a:cubicBezTo>
                <a:cubicBezTo>
                  <a:pt x="1120448" y="1656410"/>
                  <a:pt x="1119245" y="1630615"/>
                  <a:pt x="1119245" y="1599005"/>
                </a:cubicBezTo>
                <a:close/>
                <a:moveTo>
                  <a:pt x="1468939" y="1564386"/>
                </a:moveTo>
                <a:lnTo>
                  <a:pt x="1566828" y="1588050"/>
                </a:lnTo>
                <a:lnTo>
                  <a:pt x="1566828" y="1483443"/>
                </a:lnTo>
                <a:cubicBezTo>
                  <a:pt x="1566828" y="1425887"/>
                  <a:pt x="1565650" y="1379387"/>
                  <a:pt x="1564222" y="1380113"/>
                </a:cubicBezTo>
                <a:cubicBezTo>
                  <a:pt x="1519902" y="1401947"/>
                  <a:pt x="1486863" y="1415233"/>
                  <a:pt x="1459414" y="1422302"/>
                </a:cubicBezTo>
                <a:cubicBezTo>
                  <a:pt x="1429558" y="1429998"/>
                  <a:pt x="1418327" y="1431101"/>
                  <a:pt x="1371025" y="1431101"/>
                </a:cubicBezTo>
                <a:cubicBezTo>
                  <a:pt x="1296473" y="1431101"/>
                  <a:pt x="1263860" y="1422503"/>
                  <a:pt x="1177828" y="1380113"/>
                </a:cubicBezTo>
                <a:cubicBezTo>
                  <a:pt x="1176374" y="1379387"/>
                  <a:pt x="1175196" y="1425887"/>
                  <a:pt x="1175196" y="1483443"/>
                </a:cubicBezTo>
                <a:lnTo>
                  <a:pt x="1175196" y="1588050"/>
                </a:lnTo>
                <a:lnTo>
                  <a:pt x="1273110" y="1564386"/>
                </a:lnTo>
                <a:lnTo>
                  <a:pt x="1371025" y="1540722"/>
                </a:lnTo>
                <a:close/>
                <a:moveTo>
                  <a:pt x="224077" y="1298292"/>
                </a:moveTo>
                <a:lnTo>
                  <a:pt x="224077" y="1109056"/>
                </a:lnTo>
                <a:lnTo>
                  <a:pt x="252052" y="1109056"/>
                </a:lnTo>
                <a:lnTo>
                  <a:pt x="280028" y="1109056"/>
                </a:lnTo>
                <a:lnTo>
                  <a:pt x="280028" y="1298292"/>
                </a:lnTo>
                <a:lnTo>
                  <a:pt x="280028" y="1487503"/>
                </a:lnTo>
                <a:lnTo>
                  <a:pt x="391930" y="1487503"/>
                </a:lnTo>
                <a:lnTo>
                  <a:pt x="503832" y="1487503"/>
                </a:lnTo>
                <a:lnTo>
                  <a:pt x="503832" y="1359608"/>
                </a:lnTo>
                <a:lnTo>
                  <a:pt x="503832" y="1231712"/>
                </a:lnTo>
                <a:lnTo>
                  <a:pt x="524814" y="1214090"/>
                </a:lnTo>
                <a:lnTo>
                  <a:pt x="545796" y="1196442"/>
                </a:lnTo>
                <a:lnTo>
                  <a:pt x="521229" y="1170497"/>
                </a:lnTo>
                <a:cubicBezTo>
                  <a:pt x="454348" y="1099831"/>
                  <a:pt x="410981" y="1021394"/>
                  <a:pt x="379471" y="914054"/>
                </a:cubicBezTo>
                <a:cubicBezTo>
                  <a:pt x="378569" y="911021"/>
                  <a:pt x="373455" y="911598"/>
                  <a:pt x="359743" y="916235"/>
                </a:cubicBezTo>
                <a:cubicBezTo>
                  <a:pt x="234755" y="958625"/>
                  <a:pt x="205251" y="969354"/>
                  <a:pt x="186851" y="979231"/>
                </a:cubicBezTo>
                <a:cubicBezTo>
                  <a:pt x="139022" y="1004850"/>
                  <a:pt x="104704" y="1040747"/>
                  <a:pt x="80464" y="1090481"/>
                </a:cubicBezTo>
                <a:cubicBezTo>
                  <a:pt x="57426" y="1137759"/>
                  <a:pt x="56248" y="1149490"/>
                  <a:pt x="56248" y="1328549"/>
                </a:cubicBezTo>
                <a:lnTo>
                  <a:pt x="56248" y="1487503"/>
                </a:lnTo>
                <a:lnTo>
                  <a:pt x="140175" y="1487503"/>
                </a:lnTo>
                <a:lnTo>
                  <a:pt x="224077" y="1487503"/>
                </a:lnTo>
                <a:close/>
                <a:moveTo>
                  <a:pt x="895465" y="1311804"/>
                </a:moveTo>
                <a:lnTo>
                  <a:pt x="895465" y="1136104"/>
                </a:lnTo>
                <a:lnTo>
                  <a:pt x="923440" y="1136104"/>
                </a:lnTo>
                <a:lnTo>
                  <a:pt x="951416" y="1136104"/>
                </a:lnTo>
                <a:lnTo>
                  <a:pt x="951416" y="1311804"/>
                </a:lnTo>
                <a:lnTo>
                  <a:pt x="951416" y="1487503"/>
                </a:lnTo>
                <a:lnTo>
                  <a:pt x="1035343" y="1487503"/>
                </a:lnTo>
                <a:lnTo>
                  <a:pt x="1119245" y="1487503"/>
                </a:lnTo>
                <a:lnTo>
                  <a:pt x="1119245" y="1410470"/>
                </a:lnTo>
                <a:lnTo>
                  <a:pt x="1119245" y="1333437"/>
                </a:lnTo>
                <a:lnTo>
                  <a:pt x="1105106" y="1320101"/>
                </a:lnTo>
                <a:cubicBezTo>
                  <a:pt x="1064823" y="1282098"/>
                  <a:pt x="1028198" y="1212987"/>
                  <a:pt x="1013810" y="1147911"/>
                </a:cubicBezTo>
                <a:cubicBezTo>
                  <a:pt x="1008094" y="1122016"/>
                  <a:pt x="1007969" y="1041925"/>
                  <a:pt x="1013609" y="1018236"/>
                </a:cubicBezTo>
                <a:cubicBezTo>
                  <a:pt x="1018848" y="996327"/>
                  <a:pt x="1017946" y="994923"/>
                  <a:pt x="988466" y="979130"/>
                </a:cubicBezTo>
                <a:cubicBezTo>
                  <a:pt x="970217" y="969354"/>
                  <a:pt x="940687" y="958600"/>
                  <a:pt x="815750" y="916235"/>
                </a:cubicBezTo>
                <a:cubicBezTo>
                  <a:pt x="802038" y="911598"/>
                  <a:pt x="796899" y="911021"/>
                  <a:pt x="796021" y="914054"/>
                </a:cubicBezTo>
                <a:cubicBezTo>
                  <a:pt x="755888" y="1050724"/>
                  <a:pt x="698658" y="1138887"/>
                  <a:pt x="591694" y="1228830"/>
                </a:cubicBezTo>
                <a:lnTo>
                  <a:pt x="559758" y="1255702"/>
                </a:lnTo>
                <a:lnTo>
                  <a:pt x="559758" y="1371590"/>
                </a:lnTo>
                <a:lnTo>
                  <a:pt x="559758" y="1487503"/>
                </a:lnTo>
                <a:lnTo>
                  <a:pt x="727612" y="1487503"/>
                </a:lnTo>
                <a:lnTo>
                  <a:pt x="895440" y="1487503"/>
                </a:lnTo>
                <a:close/>
                <a:moveTo>
                  <a:pt x="615734" y="1406410"/>
                </a:moveTo>
                <a:lnTo>
                  <a:pt x="615734" y="1379387"/>
                </a:lnTo>
                <a:lnTo>
                  <a:pt x="643710" y="1379387"/>
                </a:lnTo>
                <a:lnTo>
                  <a:pt x="671661" y="1379387"/>
                </a:lnTo>
                <a:lnTo>
                  <a:pt x="671661" y="1406410"/>
                </a:lnTo>
                <a:lnTo>
                  <a:pt x="671661" y="1433432"/>
                </a:lnTo>
                <a:lnTo>
                  <a:pt x="643710" y="1433432"/>
                </a:lnTo>
                <a:lnTo>
                  <a:pt x="615734" y="1433432"/>
                </a:lnTo>
                <a:close/>
                <a:moveTo>
                  <a:pt x="615734" y="1298292"/>
                </a:moveTo>
                <a:lnTo>
                  <a:pt x="615734" y="1271244"/>
                </a:lnTo>
                <a:lnTo>
                  <a:pt x="643710" y="1271244"/>
                </a:lnTo>
                <a:lnTo>
                  <a:pt x="671661" y="1271244"/>
                </a:lnTo>
                <a:lnTo>
                  <a:pt x="671661" y="1298292"/>
                </a:lnTo>
                <a:lnTo>
                  <a:pt x="671661" y="1325316"/>
                </a:lnTo>
                <a:lnTo>
                  <a:pt x="643710" y="1325316"/>
                </a:lnTo>
                <a:lnTo>
                  <a:pt x="615734" y="1325316"/>
                </a:lnTo>
                <a:close/>
                <a:moveTo>
                  <a:pt x="1427452" y="1374022"/>
                </a:moveTo>
                <a:cubicBezTo>
                  <a:pt x="1489445" y="1362666"/>
                  <a:pt x="1545020" y="1333964"/>
                  <a:pt x="1589640" y="1290246"/>
                </a:cubicBezTo>
                <a:cubicBezTo>
                  <a:pt x="1661885" y="1219480"/>
                  <a:pt x="1692794" y="1119259"/>
                  <a:pt x="1672113" y="1022898"/>
                </a:cubicBezTo>
                <a:cubicBezTo>
                  <a:pt x="1659529" y="964315"/>
                  <a:pt x="1631854" y="914832"/>
                  <a:pt x="1587961" y="872392"/>
                </a:cubicBezTo>
                <a:cubicBezTo>
                  <a:pt x="1467410" y="755902"/>
                  <a:pt x="1274288" y="755827"/>
                  <a:pt x="1153863" y="872166"/>
                </a:cubicBezTo>
                <a:cubicBezTo>
                  <a:pt x="1034190" y="987829"/>
                  <a:pt x="1033538" y="1173781"/>
                  <a:pt x="1152384" y="1290246"/>
                </a:cubicBezTo>
                <a:cubicBezTo>
                  <a:pt x="1224354" y="1360736"/>
                  <a:pt x="1327858" y="1392271"/>
                  <a:pt x="1427452" y="1374022"/>
                </a:cubicBezTo>
                <a:close/>
                <a:moveTo>
                  <a:pt x="1321566" y="1320201"/>
                </a:moveTo>
                <a:cubicBezTo>
                  <a:pt x="1241074" y="1304710"/>
                  <a:pt x="1169254" y="1247229"/>
                  <a:pt x="1138296" y="1173480"/>
                </a:cubicBezTo>
                <a:cubicBezTo>
                  <a:pt x="1078710" y="1031597"/>
                  <a:pt x="1168703" y="872392"/>
                  <a:pt x="1324775" y="843539"/>
                </a:cubicBezTo>
                <a:cubicBezTo>
                  <a:pt x="1497441" y="811603"/>
                  <a:pt x="1650831" y="960129"/>
                  <a:pt x="1617741" y="1127205"/>
                </a:cubicBezTo>
                <a:cubicBezTo>
                  <a:pt x="1591570" y="1259362"/>
                  <a:pt x="1457910" y="1346447"/>
                  <a:pt x="1321566" y="1320201"/>
                </a:cubicBezTo>
                <a:close/>
                <a:moveTo>
                  <a:pt x="1413890" y="1266306"/>
                </a:moveTo>
                <a:cubicBezTo>
                  <a:pt x="1511705" y="1246277"/>
                  <a:pt x="1578761" y="1151722"/>
                  <a:pt x="1564121" y="1054509"/>
                </a:cubicBezTo>
                <a:cubicBezTo>
                  <a:pt x="1541084" y="901846"/>
                  <a:pt x="1347311" y="839729"/>
                  <a:pt x="1233553" y="948547"/>
                </a:cubicBezTo>
                <a:cubicBezTo>
                  <a:pt x="1138447" y="1039569"/>
                  <a:pt x="1164968" y="1195038"/>
                  <a:pt x="1285143" y="1251015"/>
                </a:cubicBezTo>
                <a:cubicBezTo>
                  <a:pt x="1328159" y="1271044"/>
                  <a:pt x="1367716" y="1275757"/>
                  <a:pt x="1413890" y="1266306"/>
                </a:cubicBezTo>
                <a:close/>
                <a:moveTo>
                  <a:pt x="1307177" y="1211884"/>
                </a:moveTo>
                <a:cubicBezTo>
                  <a:pt x="1286145" y="1201305"/>
                  <a:pt x="1259122" y="1176488"/>
                  <a:pt x="1259122" y="1167740"/>
                </a:cubicBezTo>
                <a:cubicBezTo>
                  <a:pt x="1259122" y="1164055"/>
                  <a:pt x="1262456" y="1151546"/>
                  <a:pt x="1266492" y="1139940"/>
                </a:cubicBezTo>
                <a:cubicBezTo>
                  <a:pt x="1270553" y="1128333"/>
                  <a:pt x="1273311" y="1118381"/>
                  <a:pt x="1272634" y="1117855"/>
                </a:cubicBezTo>
                <a:cubicBezTo>
                  <a:pt x="1271932" y="1117328"/>
                  <a:pt x="1262306" y="1110385"/>
                  <a:pt x="1251251" y="1102438"/>
                </a:cubicBezTo>
                <a:cubicBezTo>
                  <a:pt x="1234230" y="1090205"/>
                  <a:pt x="1231147" y="1086345"/>
                  <a:pt x="1231172" y="1077396"/>
                </a:cubicBezTo>
                <a:cubicBezTo>
                  <a:pt x="1231197" y="1063383"/>
                  <a:pt x="1236762" y="1044131"/>
                  <a:pt x="1247666" y="1020367"/>
                </a:cubicBezTo>
                <a:lnTo>
                  <a:pt x="1256591" y="1000939"/>
                </a:lnTo>
                <a:lnTo>
                  <a:pt x="1283889" y="1000939"/>
                </a:lnTo>
                <a:lnTo>
                  <a:pt x="1311163" y="1000939"/>
                </a:lnTo>
                <a:lnTo>
                  <a:pt x="1319084" y="977175"/>
                </a:lnTo>
                <a:cubicBezTo>
                  <a:pt x="1328284" y="949575"/>
                  <a:pt x="1330139" y="948573"/>
                  <a:pt x="1371025" y="948573"/>
                </a:cubicBezTo>
                <a:cubicBezTo>
                  <a:pt x="1411885" y="948573"/>
                  <a:pt x="1413765" y="949575"/>
                  <a:pt x="1422940" y="977175"/>
                </a:cubicBezTo>
                <a:lnTo>
                  <a:pt x="1430861" y="1000939"/>
                </a:lnTo>
                <a:lnTo>
                  <a:pt x="1456330" y="1000939"/>
                </a:lnTo>
                <a:lnTo>
                  <a:pt x="1481799" y="1000939"/>
                </a:lnTo>
                <a:lnTo>
                  <a:pt x="1490773" y="1016983"/>
                </a:lnTo>
                <a:cubicBezTo>
                  <a:pt x="1501101" y="1035482"/>
                  <a:pt x="1510877" y="1065589"/>
                  <a:pt x="1510877" y="1078850"/>
                </a:cubicBezTo>
                <a:cubicBezTo>
                  <a:pt x="1510877" y="1086019"/>
                  <a:pt x="1506591" y="1091058"/>
                  <a:pt x="1490773" y="1102438"/>
                </a:cubicBezTo>
                <a:cubicBezTo>
                  <a:pt x="1479718" y="1110385"/>
                  <a:pt x="1470118" y="1117328"/>
                  <a:pt x="1469416" y="1117855"/>
                </a:cubicBezTo>
                <a:cubicBezTo>
                  <a:pt x="1468714" y="1118381"/>
                  <a:pt x="1471471" y="1128333"/>
                  <a:pt x="1475532" y="1139940"/>
                </a:cubicBezTo>
                <a:cubicBezTo>
                  <a:pt x="1479593" y="1151546"/>
                  <a:pt x="1482927" y="1164055"/>
                  <a:pt x="1482927" y="1167740"/>
                </a:cubicBezTo>
                <a:cubicBezTo>
                  <a:pt x="1482927" y="1182229"/>
                  <a:pt x="1423216" y="1224844"/>
                  <a:pt x="1411986" y="1218377"/>
                </a:cubicBezTo>
                <a:cubicBezTo>
                  <a:pt x="1409654" y="1217023"/>
                  <a:pt x="1399426" y="1209904"/>
                  <a:pt x="1389274" y="1202559"/>
                </a:cubicBezTo>
                <a:lnTo>
                  <a:pt x="1370824" y="1189223"/>
                </a:lnTo>
                <a:lnTo>
                  <a:pt x="1349943" y="1204890"/>
                </a:lnTo>
                <a:cubicBezTo>
                  <a:pt x="1338462" y="1213513"/>
                  <a:pt x="1327883" y="1220507"/>
                  <a:pt x="1326429" y="1220407"/>
                </a:cubicBezTo>
                <a:cubicBezTo>
                  <a:pt x="1325001" y="1220332"/>
                  <a:pt x="1316327" y="1216497"/>
                  <a:pt x="1307177" y="1211884"/>
                </a:cubicBezTo>
                <a:close/>
                <a:moveTo>
                  <a:pt x="1347912" y="1139263"/>
                </a:moveTo>
                <a:lnTo>
                  <a:pt x="1371301" y="1122141"/>
                </a:lnTo>
                <a:lnTo>
                  <a:pt x="1395190" y="1139263"/>
                </a:lnTo>
                <a:cubicBezTo>
                  <a:pt x="1408325" y="1148663"/>
                  <a:pt x="1419982" y="1156359"/>
                  <a:pt x="1421060" y="1156359"/>
                </a:cubicBezTo>
                <a:cubicBezTo>
                  <a:pt x="1422163" y="1156359"/>
                  <a:pt x="1419205" y="1145455"/>
                  <a:pt x="1414517" y="1132119"/>
                </a:cubicBezTo>
                <a:cubicBezTo>
                  <a:pt x="1409829" y="1118782"/>
                  <a:pt x="1405994" y="1105221"/>
                  <a:pt x="1405994" y="1101987"/>
                </a:cubicBezTo>
                <a:cubicBezTo>
                  <a:pt x="1405994" y="1098628"/>
                  <a:pt x="1415821" y="1089102"/>
                  <a:pt x="1428781" y="1079928"/>
                </a:cubicBezTo>
                <a:cubicBezTo>
                  <a:pt x="1441289" y="1071028"/>
                  <a:pt x="1451016" y="1062155"/>
                  <a:pt x="1450339" y="1060224"/>
                </a:cubicBezTo>
                <a:cubicBezTo>
                  <a:pt x="1449687" y="1058269"/>
                  <a:pt x="1435975" y="1055938"/>
                  <a:pt x="1419907" y="1055010"/>
                </a:cubicBezTo>
                <a:lnTo>
                  <a:pt x="1390653" y="1053305"/>
                </a:lnTo>
                <a:lnTo>
                  <a:pt x="1381879" y="1027110"/>
                </a:lnTo>
                <a:cubicBezTo>
                  <a:pt x="1377041" y="1012721"/>
                  <a:pt x="1372053" y="1000939"/>
                  <a:pt x="1370799" y="1000939"/>
                </a:cubicBezTo>
                <a:cubicBezTo>
                  <a:pt x="1369521" y="1000939"/>
                  <a:pt x="1364908" y="1013097"/>
                  <a:pt x="1360521" y="1027962"/>
                </a:cubicBezTo>
                <a:lnTo>
                  <a:pt x="1352575" y="1054985"/>
                </a:lnTo>
                <a:lnTo>
                  <a:pt x="1321591" y="1054985"/>
                </a:lnTo>
                <a:cubicBezTo>
                  <a:pt x="1298404" y="1054985"/>
                  <a:pt x="1290607" y="1056113"/>
                  <a:pt x="1290607" y="1059422"/>
                </a:cubicBezTo>
                <a:cubicBezTo>
                  <a:pt x="1290607" y="1061854"/>
                  <a:pt x="1300835" y="1071078"/>
                  <a:pt x="1313319" y="1079953"/>
                </a:cubicBezTo>
                <a:cubicBezTo>
                  <a:pt x="1326229" y="1089127"/>
                  <a:pt x="1336055" y="1098628"/>
                  <a:pt x="1336055" y="1101987"/>
                </a:cubicBezTo>
                <a:cubicBezTo>
                  <a:pt x="1336055" y="1105221"/>
                  <a:pt x="1332220" y="1118782"/>
                  <a:pt x="1327507" y="1132119"/>
                </a:cubicBezTo>
                <a:cubicBezTo>
                  <a:pt x="1322819" y="1145455"/>
                  <a:pt x="1320238" y="1156359"/>
                  <a:pt x="1321742" y="1156359"/>
                </a:cubicBezTo>
                <a:cubicBezTo>
                  <a:pt x="1323271" y="1156359"/>
                  <a:pt x="1335053" y="1148663"/>
                  <a:pt x="1347912" y="1139263"/>
                </a:cubicBezTo>
                <a:close/>
                <a:moveTo>
                  <a:pt x="611874" y="1134751"/>
                </a:moveTo>
                <a:cubicBezTo>
                  <a:pt x="624057" y="1122869"/>
                  <a:pt x="633457" y="1111638"/>
                  <a:pt x="632755" y="1109783"/>
                </a:cubicBezTo>
                <a:cubicBezTo>
                  <a:pt x="630650" y="1104344"/>
                  <a:pt x="589664" y="1048493"/>
                  <a:pt x="587759" y="1048493"/>
                </a:cubicBezTo>
                <a:cubicBezTo>
                  <a:pt x="585829" y="1048493"/>
                  <a:pt x="544843" y="1104344"/>
                  <a:pt x="542762" y="1109783"/>
                </a:cubicBezTo>
                <a:cubicBezTo>
                  <a:pt x="541559" y="1112942"/>
                  <a:pt x="583497" y="1156359"/>
                  <a:pt x="587759" y="1156359"/>
                </a:cubicBezTo>
                <a:cubicBezTo>
                  <a:pt x="588812" y="1156359"/>
                  <a:pt x="599666" y="1146633"/>
                  <a:pt x="611874" y="1134751"/>
                </a:cubicBezTo>
                <a:close/>
                <a:moveTo>
                  <a:pt x="529903" y="1032876"/>
                </a:moveTo>
                <a:lnTo>
                  <a:pt x="553567" y="1000588"/>
                </a:lnTo>
                <a:lnTo>
                  <a:pt x="513834" y="942882"/>
                </a:lnTo>
                <a:cubicBezTo>
                  <a:pt x="491975" y="911147"/>
                  <a:pt x="473149" y="883722"/>
                  <a:pt x="471946" y="881943"/>
                </a:cubicBezTo>
                <a:cubicBezTo>
                  <a:pt x="468662" y="876954"/>
                  <a:pt x="433893" y="889964"/>
                  <a:pt x="433893" y="896206"/>
                </a:cubicBezTo>
                <a:cubicBezTo>
                  <a:pt x="433893" y="906083"/>
                  <a:pt x="448332" y="951706"/>
                  <a:pt x="460590" y="980484"/>
                </a:cubicBezTo>
                <a:cubicBezTo>
                  <a:pt x="470417" y="1003621"/>
                  <a:pt x="503180" y="1065137"/>
                  <a:pt x="505662" y="1065137"/>
                </a:cubicBezTo>
                <a:cubicBezTo>
                  <a:pt x="505963" y="1065137"/>
                  <a:pt x="516893" y="1050623"/>
                  <a:pt x="529903" y="1032876"/>
                </a:cubicBezTo>
                <a:close/>
                <a:moveTo>
                  <a:pt x="701441" y="1009086"/>
                </a:moveTo>
                <a:cubicBezTo>
                  <a:pt x="718136" y="975896"/>
                  <a:pt x="736410" y="926338"/>
                  <a:pt x="739970" y="904629"/>
                </a:cubicBezTo>
                <a:lnTo>
                  <a:pt x="742176" y="891118"/>
                </a:lnTo>
                <a:lnTo>
                  <a:pt x="723927" y="884901"/>
                </a:lnTo>
                <a:cubicBezTo>
                  <a:pt x="712872" y="881140"/>
                  <a:pt x="704850" y="879962"/>
                  <a:pt x="703547" y="881943"/>
                </a:cubicBezTo>
                <a:cubicBezTo>
                  <a:pt x="702368" y="883722"/>
                  <a:pt x="683517" y="911147"/>
                  <a:pt x="661658" y="942882"/>
                </a:cubicBezTo>
                <a:lnTo>
                  <a:pt x="621926" y="1000588"/>
                </a:lnTo>
                <a:lnTo>
                  <a:pt x="645715" y="1033051"/>
                </a:lnTo>
                <a:lnTo>
                  <a:pt x="669530" y="1065489"/>
                </a:lnTo>
                <a:lnTo>
                  <a:pt x="677752" y="1052629"/>
                </a:lnTo>
                <a:cubicBezTo>
                  <a:pt x="682289" y="1045585"/>
                  <a:pt x="692943" y="1025982"/>
                  <a:pt x="701441" y="1009086"/>
                </a:cubicBezTo>
                <a:close/>
                <a:moveTo>
                  <a:pt x="624458" y="899089"/>
                </a:moveTo>
                <a:cubicBezTo>
                  <a:pt x="643710" y="871013"/>
                  <a:pt x="660004" y="846597"/>
                  <a:pt x="660706" y="844792"/>
                </a:cubicBezTo>
                <a:cubicBezTo>
                  <a:pt x="661408" y="843013"/>
                  <a:pt x="659227" y="835642"/>
                  <a:pt x="655868" y="828473"/>
                </a:cubicBezTo>
                <a:lnTo>
                  <a:pt x="649776" y="815413"/>
                </a:lnTo>
                <a:lnTo>
                  <a:pt x="637117" y="821504"/>
                </a:lnTo>
                <a:cubicBezTo>
                  <a:pt x="630148" y="824838"/>
                  <a:pt x="616211" y="830403"/>
                  <a:pt x="606108" y="833838"/>
                </a:cubicBezTo>
                <a:cubicBezTo>
                  <a:pt x="588260" y="839904"/>
                  <a:pt x="587257" y="839904"/>
                  <a:pt x="569384" y="833838"/>
                </a:cubicBezTo>
                <a:cubicBezTo>
                  <a:pt x="559307" y="830403"/>
                  <a:pt x="545344" y="824838"/>
                  <a:pt x="538376" y="821504"/>
                </a:cubicBezTo>
                <a:lnTo>
                  <a:pt x="525716" y="815413"/>
                </a:lnTo>
                <a:lnTo>
                  <a:pt x="519625" y="828473"/>
                </a:lnTo>
                <a:cubicBezTo>
                  <a:pt x="516266" y="835642"/>
                  <a:pt x="514110" y="843013"/>
                  <a:pt x="514787" y="844792"/>
                </a:cubicBezTo>
                <a:cubicBezTo>
                  <a:pt x="517093" y="850683"/>
                  <a:pt x="585954" y="950102"/>
                  <a:pt x="587759" y="950102"/>
                </a:cubicBezTo>
                <a:cubicBezTo>
                  <a:pt x="588711" y="950102"/>
                  <a:pt x="605231" y="927140"/>
                  <a:pt x="624458" y="899089"/>
                </a:cubicBezTo>
                <a:close/>
                <a:moveTo>
                  <a:pt x="354654" y="861061"/>
                </a:moveTo>
                <a:cubicBezTo>
                  <a:pt x="406269" y="843489"/>
                  <a:pt x="451716" y="826342"/>
                  <a:pt x="455677" y="822958"/>
                </a:cubicBezTo>
                <a:cubicBezTo>
                  <a:pt x="459638" y="819549"/>
                  <a:pt x="466005" y="810048"/>
                  <a:pt x="469790" y="801826"/>
                </a:cubicBezTo>
                <a:lnTo>
                  <a:pt x="476709" y="786886"/>
                </a:lnTo>
                <a:lnTo>
                  <a:pt x="466657" y="780168"/>
                </a:lnTo>
                <a:cubicBezTo>
                  <a:pt x="448207" y="767834"/>
                  <a:pt x="390075" y="708900"/>
                  <a:pt x="376112" y="688370"/>
                </a:cubicBezTo>
                <a:cubicBezTo>
                  <a:pt x="356785" y="659918"/>
                  <a:pt x="337057" y="621289"/>
                  <a:pt x="328709" y="595469"/>
                </a:cubicBezTo>
                <a:cubicBezTo>
                  <a:pt x="312666" y="545910"/>
                  <a:pt x="310886" y="531797"/>
                  <a:pt x="309056" y="440876"/>
                </a:cubicBezTo>
                <a:lnTo>
                  <a:pt x="307251" y="352162"/>
                </a:lnTo>
                <a:lnTo>
                  <a:pt x="358490" y="352162"/>
                </a:lnTo>
                <a:cubicBezTo>
                  <a:pt x="454298" y="352162"/>
                  <a:pt x="508570" y="333336"/>
                  <a:pt x="565799" y="280242"/>
                </a:cubicBezTo>
                <a:lnTo>
                  <a:pt x="587759" y="259862"/>
                </a:lnTo>
                <a:lnTo>
                  <a:pt x="609718" y="280242"/>
                </a:lnTo>
                <a:cubicBezTo>
                  <a:pt x="666697" y="333110"/>
                  <a:pt x="721596" y="352162"/>
                  <a:pt x="817003" y="352162"/>
                </a:cubicBezTo>
                <a:lnTo>
                  <a:pt x="868241" y="352162"/>
                </a:lnTo>
                <a:lnTo>
                  <a:pt x="866462" y="440876"/>
                </a:lnTo>
                <a:cubicBezTo>
                  <a:pt x="864632" y="531797"/>
                  <a:pt x="862827" y="545910"/>
                  <a:pt x="846783" y="595469"/>
                </a:cubicBezTo>
                <a:cubicBezTo>
                  <a:pt x="838436" y="621289"/>
                  <a:pt x="818708" y="659918"/>
                  <a:pt x="799381" y="688370"/>
                </a:cubicBezTo>
                <a:cubicBezTo>
                  <a:pt x="785443" y="708900"/>
                  <a:pt x="727311" y="767834"/>
                  <a:pt x="708836" y="780168"/>
                </a:cubicBezTo>
                <a:lnTo>
                  <a:pt x="698784" y="786886"/>
                </a:lnTo>
                <a:lnTo>
                  <a:pt x="705703" y="801826"/>
                </a:lnTo>
                <a:cubicBezTo>
                  <a:pt x="709513" y="810048"/>
                  <a:pt x="715780" y="819499"/>
                  <a:pt x="719640" y="822808"/>
                </a:cubicBezTo>
                <a:cubicBezTo>
                  <a:pt x="726258" y="828473"/>
                  <a:pt x="926950" y="899365"/>
                  <a:pt x="936777" y="899490"/>
                </a:cubicBezTo>
                <a:cubicBezTo>
                  <a:pt x="941815" y="899565"/>
                  <a:pt x="954700" y="886029"/>
                  <a:pt x="970066" y="864471"/>
                </a:cubicBezTo>
                <a:cubicBezTo>
                  <a:pt x="978389" y="852839"/>
                  <a:pt x="979768" y="848001"/>
                  <a:pt x="978490" y="834790"/>
                </a:cubicBezTo>
                <a:cubicBezTo>
                  <a:pt x="977236" y="821805"/>
                  <a:pt x="973751" y="815288"/>
                  <a:pt x="958736" y="797916"/>
                </a:cubicBezTo>
                <a:cubicBezTo>
                  <a:pt x="935473" y="771043"/>
                  <a:pt x="927602" y="755952"/>
                  <a:pt x="924819" y="732915"/>
                </a:cubicBezTo>
                <a:cubicBezTo>
                  <a:pt x="921485" y="705591"/>
                  <a:pt x="928329" y="683281"/>
                  <a:pt x="947430" y="659216"/>
                </a:cubicBezTo>
                <a:cubicBezTo>
                  <a:pt x="981272" y="616576"/>
                  <a:pt x="980119" y="618681"/>
                  <a:pt x="978464" y="601510"/>
                </a:cubicBezTo>
                <a:cubicBezTo>
                  <a:pt x="977411" y="590506"/>
                  <a:pt x="973827" y="581882"/>
                  <a:pt x="966808" y="573509"/>
                </a:cubicBezTo>
                <a:cubicBezTo>
                  <a:pt x="961218" y="566842"/>
                  <a:pt x="951592" y="555310"/>
                  <a:pt x="945375" y="547865"/>
                </a:cubicBezTo>
                <a:cubicBezTo>
                  <a:pt x="925923" y="524527"/>
                  <a:pt x="923440" y="509587"/>
                  <a:pt x="923440" y="416210"/>
                </a:cubicBezTo>
                <a:cubicBezTo>
                  <a:pt x="923440" y="356749"/>
                  <a:pt x="921912" y="324337"/>
                  <a:pt x="918126" y="303330"/>
                </a:cubicBezTo>
                <a:cubicBezTo>
                  <a:pt x="896042" y="180949"/>
                  <a:pt x="795044" y="83235"/>
                  <a:pt x="666346" y="59722"/>
                </a:cubicBezTo>
                <a:cubicBezTo>
                  <a:pt x="559608" y="40244"/>
                  <a:pt x="439458" y="82709"/>
                  <a:pt x="371124" y="164103"/>
                </a:cubicBezTo>
                <a:cubicBezTo>
                  <a:pt x="359743" y="177690"/>
                  <a:pt x="348488" y="187617"/>
                  <a:pt x="343148" y="188820"/>
                </a:cubicBezTo>
                <a:cubicBezTo>
                  <a:pt x="324974" y="192932"/>
                  <a:pt x="293063" y="211933"/>
                  <a:pt x="281557" y="225520"/>
                </a:cubicBezTo>
                <a:cubicBezTo>
                  <a:pt x="275014" y="233215"/>
                  <a:pt x="266115" y="247003"/>
                  <a:pt x="261753" y="256152"/>
                </a:cubicBezTo>
                <a:cubicBezTo>
                  <a:pt x="254082" y="272170"/>
                  <a:pt x="253757" y="277009"/>
                  <a:pt x="252052" y="392721"/>
                </a:cubicBezTo>
                <a:cubicBezTo>
                  <a:pt x="250072" y="529215"/>
                  <a:pt x="250448" y="527285"/>
                  <a:pt x="219113" y="561377"/>
                </a:cubicBezTo>
                <a:cubicBezTo>
                  <a:pt x="200814" y="581281"/>
                  <a:pt x="196126" y="590606"/>
                  <a:pt x="196126" y="607000"/>
                </a:cubicBezTo>
                <a:cubicBezTo>
                  <a:pt x="196126" y="618180"/>
                  <a:pt x="198106" y="621439"/>
                  <a:pt x="228087" y="659216"/>
                </a:cubicBezTo>
                <a:cubicBezTo>
                  <a:pt x="247189" y="683281"/>
                  <a:pt x="254007" y="705591"/>
                  <a:pt x="250698" y="732915"/>
                </a:cubicBezTo>
                <a:cubicBezTo>
                  <a:pt x="247891" y="755952"/>
                  <a:pt x="240020" y="771043"/>
                  <a:pt x="216857" y="797816"/>
                </a:cubicBezTo>
                <a:cubicBezTo>
                  <a:pt x="202794" y="814084"/>
                  <a:pt x="198332" y="822081"/>
                  <a:pt x="197028" y="833362"/>
                </a:cubicBezTo>
                <a:cubicBezTo>
                  <a:pt x="195048" y="850257"/>
                  <a:pt x="198106" y="856875"/>
                  <a:pt x="220016" y="883221"/>
                </a:cubicBezTo>
                <a:lnTo>
                  <a:pt x="235933" y="902373"/>
                </a:lnTo>
                <a:lnTo>
                  <a:pt x="248367" y="897685"/>
                </a:lnTo>
                <a:cubicBezTo>
                  <a:pt x="255210" y="895103"/>
                  <a:pt x="303040" y="878634"/>
                  <a:pt x="354654" y="861061"/>
                </a:cubicBezTo>
                <a:close/>
                <a:moveTo>
                  <a:pt x="627140" y="765453"/>
                </a:moveTo>
                <a:cubicBezTo>
                  <a:pt x="692968" y="732589"/>
                  <a:pt x="743028" y="683832"/>
                  <a:pt x="775616" y="620812"/>
                </a:cubicBezTo>
                <a:cubicBezTo>
                  <a:pt x="801035" y="571629"/>
                  <a:pt x="811538" y="522697"/>
                  <a:pt x="811538" y="453611"/>
                </a:cubicBezTo>
                <a:lnTo>
                  <a:pt x="811538" y="407261"/>
                </a:lnTo>
                <a:lnTo>
                  <a:pt x="775691" y="405205"/>
                </a:lnTo>
                <a:cubicBezTo>
                  <a:pt x="713649" y="401696"/>
                  <a:pt x="659051" y="383672"/>
                  <a:pt x="610044" y="350557"/>
                </a:cubicBezTo>
                <a:lnTo>
                  <a:pt x="587759" y="335517"/>
                </a:lnTo>
                <a:lnTo>
                  <a:pt x="565449" y="350557"/>
                </a:lnTo>
                <a:cubicBezTo>
                  <a:pt x="516441" y="383672"/>
                  <a:pt x="461844" y="401696"/>
                  <a:pt x="399801" y="405205"/>
                </a:cubicBezTo>
                <a:lnTo>
                  <a:pt x="363954" y="407261"/>
                </a:lnTo>
                <a:lnTo>
                  <a:pt x="363954" y="453611"/>
                </a:lnTo>
                <a:cubicBezTo>
                  <a:pt x="363954" y="522697"/>
                  <a:pt x="374483" y="571629"/>
                  <a:pt x="399901" y="620812"/>
                </a:cubicBezTo>
                <a:cubicBezTo>
                  <a:pt x="422061" y="663678"/>
                  <a:pt x="453471" y="701305"/>
                  <a:pt x="491574" y="730609"/>
                </a:cubicBezTo>
                <a:cubicBezTo>
                  <a:pt x="517519" y="750563"/>
                  <a:pt x="575275" y="781145"/>
                  <a:pt x="587182" y="781246"/>
                </a:cubicBezTo>
                <a:cubicBezTo>
                  <a:pt x="591694" y="781271"/>
                  <a:pt x="609668" y="774177"/>
                  <a:pt x="627140" y="765453"/>
                </a:cubicBezTo>
                <a:close/>
                <a:moveTo>
                  <a:pt x="1340592" y="671198"/>
                </a:moveTo>
                <a:cubicBezTo>
                  <a:pt x="1332521" y="668316"/>
                  <a:pt x="1319686" y="659943"/>
                  <a:pt x="1312041" y="652548"/>
                </a:cubicBezTo>
                <a:cubicBezTo>
                  <a:pt x="1291560" y="632769"/>
                  <a:pt x="1287098" y="616400"/>
                  <a:pt x="1287098" y="561076"/>
                </a:cubicBezTo>
                <a:lnTo>
                  <a:pt x="1287098" y="514375"/>
                </a:lnTo>
                <a:lnTo>
                  <a:pt x="1195300" y="514350"/>
                </a:lnTo>
                <a:cubicBezTo>
                  <a:pt x="1106285" y="514325"/>
                  <a:pt x="1102976" y="514074"/>
                  <a:pt x="1085829" y="506353"/>
                </a:cubicBezTo>
                <a:cubicBezTo>
                  <a:pt x="1065174" y="497053"/>
                  <a:pt x="1045144" y="475946"/>
                  <a:pt x="1039379" y="457396"/>
                </a:cubicBezTo>
                <a:cubicBezTo>
                  <a:pt x="1033513" y="438445"/>
                  <a:pt x="1033689" y="76216"/>
                  <a:pt x="1039579" y="56914"/>
                </a:cubicBezTo>
                <a:cubicBezTo>
                  <a:pt x="1045270" y="38364"/>
                  <a:pt x="1074223" y="10363"/>
                  <a:pt x="1093450" y="4874"/>
                </a:cubicBezTo>
                <a:cubicBezTo>
                  <a:pt x="1113554" y="-867"/>
                  <a:pt x="1655944" y="-1043"/>
                  <a:pt x="1675748" y="4698"/>
                </a:cubicBezTo>
                <a:cubicBezTo>
                  <a:pt x="1694924" y="10263"/>
                  <a:pt x="1716759" y="29615"/>
                  <a:pt x="1726385" y="49594"/>
                </a:cubicBezTo>
                <a:lnTo>
                  <a:pt x="1734607" y="66665"/>
                </a:lnTo>
                <a:lnTo>
                  <a:pt x="1734607" y="257581"/>
                </a:lnTo>
                <a:lnTo>
                  <a:pt x="1734607" y="448497"/>
                </a:lnTo>
                <a:lnTo>
                  <a:pt x="1726360" y="465393"/>
                </a:lnTo>
                <a:cubicBezTo>
                  <a:pt x="1716408" y="485697"/>
                  <a:pt x="1703372" y="498106"/>
                  <a:pt x="1682240" y="507356"/>
                </a:cubicBezTo>
                <a:cubicBezTo>
                  <a:pt x="1668102" y="513523"/>
                  <a:pt x="1659354" y="514249"/>
                  <a:pt x="1596358" y="514299"/>
                </a:cubicBezTo>
                <a:lnTo>
                  <a:pt x="1526219" y="514375"/>
                </a:lnTo>
                <a:lnTo>
                  <a:pt x="1477462" y="584414"/>
                </a:lnTo>
                <a:cubicBezTo>
                  <a:pt x="1436677" y="642997"/>
                  <a:pt x="1426073" y="656032"/>
                  <a:pt x="1412436" y="664104"/>
                </a:cubicBezTo>
                <a:cubicBezTo>
                  <a:pt x="1392257" y="676087"/>
                  <a:pt x="1362552" y="679045"/>
                  <a:pt x="1340618" y="671224"/>
                </a:cubicBezTo>
                <a:close/>
                <a:moveTo>
                  <a:pt x="1383483" y="617729"/>
                </a:moveTo>
                <a:cubicBezTo>
                  <a:pt x="1387344" y="615122"/>
                  <a:pt x="1414066" y="578674"/>
                  <a:pt x="1442844" y="536710"/>
                </a:cubicBezTo>
                <a:lnTo>
                  <a:pt x="1495160" y="460454"/>
                </a:lnTo>
                <a:lnTo>
                  <a:pt x="1578360" y="460379"/>
                </a:lnTo>
                <a:lnTo>
                  <a:pt x="1661560" y="460304"/>
                </a:lnTo>
                <a:lnTo>
                  <a:pt x="1670158" y="452006"/>
                </a:lnTo>
                <a:lnTo>
                  <a:pt x="1678731" y="443734"/>
                </a:lnTo>
                <a:lnTo>
                  <a:pt x="1678731" y="257581"/>
                </a:lnTo>
                <a:lnTo>
                  <a:pt x="1678731" y="71428"/>
                </a:lnTo>
                <a:lnTo>
                  <a:pt x="1670158" y="63131"/>
                </a:lnTo>
                <a:lnTo>
                  <a:pt x="1661560" y="54833"/>
                </a:lnTo>
                <a:lnTo>
                  <a:pt x="1385013" y="54833"/>
                </a:lnTo>
                <a:lnTo>
                  <a:pt x="1108440" y="54833"/>
                </a:lnTo>
                <a:lnTo>
                  <a:pt x="1099867" y="63131"/>
                </a:lnTo>
                <a:lnTo>
                  <a:pt x="1091269" y="71428"/>
                </a:lnTo>
                <a:lnTo>
                  <a:pt x="1091269" y="257581"/>
                </a:lnTo>
                <a:lnTo>
                  <a:pt x="1091269" y="443734"/>
                </a:lnTo>
                <a:lnTo>
                  <a:pt x="1099867" y="452006"/>
                </a:lnTo>
                <a:lnTo>
                  <a:pt x="1108440" y="460304"/>
                </a:lnTo>
                <a:lnTo>
                  <a:pt x="1225757" y="460304"/>
                </a:lnTo>
                <a:lnTo>
                  <a:pt x="1343049" y="460304"/>
                </a:lnTo>
                <a:lnTo>
                  <a:pt x="1343049" y="533100"/>
                </a:lnTo>
                <a:cubicBezTo>
                  <a:pt x="1343049" y="605897"/>
                  <a:pt x="1343049" y="605922"/>
                  <a:pt x="1351622" y="614220"/>
                </a:cubicBezTo>
                <a:cubicBezTo>
                  <a:pt x="1361273" y="623520"/>
                  <a:pt x="1373030" y="624823"/>
                  <a:pt x="1383483" y="617754"/>
                </a:cubicBezTo>
                <a:close/>
                <a:moveTo>
                  <a:pt x="1290583" y="340355"/>
                </a:moveTo>
                <a:lnTo>
                  <a:pt x="1239971" y="291347"/>
                </a:lnTo>
                <a:lnTo>
                  <a:pt x="1260025" y="271970"/>
                </a:lnTo>
                <a:lnTo>
                  <a:pt x="1280079" y="252593"/>
                </a:lnTo>
                <a:lnTo>
                  <a:pt x="1311589" y="282900"/>
                </a:lnTo>
                <a:lnTo>
                  <a:pt x="1343099" y="313231"/>
                </a:lnTo>
                <a:lnTo>
                  <a:pt x="1444473" y="215317"/>
                </a:lnTo>
                <a:lnTo>
                  <a:pt x="1545847" y="117402"/>
                </a:lnTo>
                <a:lnTo>
                  <a:pt x="1565926" y="136805"/>
                </a:lnTo>
                <a:lnTo>
                  <a:pt x="1586005" y="156207"/>
                </a:lnTo>
                <a:lnTo>
                  <a:pt x="1465430" y="272772"/>
                </a:lnTo>
                <a:cubicBezTo>
                  <a:pt x="1399101" y="336895"/>
                  <a:pt x="1344027" y="389337"/>
                  <a:pt x="1343024" y="389337"/>
                </a:cubicBezTo>
                <a:cubicBezTo>
                  <a:pt x="1342022" y="389337"/>
                  <a:pt x="1318433" y="367302"/>
                  <a:pt x="1290583" y="340355"/>
                </a:cubicBezTo>
                <a:close/>
              </a:path>
            </a:pathLst>
          </a:custGeom>
          <a:solidFill>
            <a:srgbClr val="003F62"/>
          </a:solidFill>
          <a:ln w="3424" cap="flat">
            <a:noFill/>
            <a:prstDash val="solid"/>
            <a:miter/>
          </a:ln>
        </p:spPr>
        <p:txBody>
          <a:bodyPr rtlCol="0" anchor="ctr"/>
          <a:lstStyle/>
          <a:p>
            <a:endParaRPr lang="en-IN">
              <a:solidFill>
                <a:schemeClr val="bg1"/>
              </a:solidFill>
            </a:endParaRPr>
          </a:p>
        </p:txBody>
      </p:sp>
      <p:sp>
        <p:nvSpPr>
          <p:cNvPr id="30" name="Freeform: Shape 29">
            <a:extLst>
              <a:ext uri="{FF2B5EF4-FFF2-40B4-BE49-F238E27FC236}">
                <a16:creationId xmlns:a16="http://schemas.microsoft.com/office/drawing/2014/main" id="{D0124742-B0CA-4948-BF50-267527886129}"/>
              </a:ext>
            </a:extLst>
          </p:cNvPr>
          <p:cNvSpPr/>
          <p:nvPr/>
        </p:nvSpPr>
        <p:spPr>
          <a:xfrm>
            <a:off x="5483211" y="5419306"/>
            <a:ext cx="457200" cy="457200"/>
          </a:xfrm>
          <a:custGeom>
            <a:avLst/>
            <a:gdLst>
              <a:gd name="connsiteX0" fmla="*/ 620375 w 1699080"/>
              <a:gd name="connsiteY0" fmla="*/ 1497722 h 1498873"/>
              <a:gd name="connsiteX1" fmla="*/ 603781 w 1699080"/>
              <a:gd name="connsiteY1" fmla="*/ 1456561 h 1498873"/>
              <a:gd name="connsiteX2" fmla="*/ 611025 w 1699080"/>
              <a:gd name="connsiteY2" fmla="*/ 1414548 h 1498873"/>
              <a:gd name="connsiteX3" fmla="*/ 620977 w 1699080"/>
              <a:gd name="connsiteY3" fmla="*/ 1403167 h 1498873"/>
              <a:gd name="connsiteX4" fmla="*/ 623684 w 1699080"/>
              <a:gd name="connsiteY4" fmla="*/ 1354260 h 1498873"/>
              <a:gd name="connsiteX5" fmla="*/ 623684 w 1699080"/>
              <a:gd name="connsiteY5" fmla="*/ 1305352 h 1498873"/>
              <a:gd name="connsiteX6" fmla="*/ 597313 w 1699080"/>
              <a:gd name="connsiteY6" fmla="*/ 1271311 h 1498873"/>
              <a:gd name="connsiteX7" fmla="*/ 540234 w 1699080"/>
              <a:gd name="connsiteY7" fmla="*/ 1174624 h 1498873"/>
              <a:gd name="connsiteX8" fmla="*/ 531535 w 1699080"/>
              <a:gd name="connsiteY8" fmla="*/ 1035874 h 1498873"/>
              <a:gd name="connsiteX9" fmla="*/ 535697 w 1699080"/>
              <a:gd name="connsiteY9" fmla="*/ 906450 h 1498873"/>
              <a:gd name="connsiteX10" fmla="*/ 567683 w 1699080"/>
              <a:gd name="connsiteY10" fmla="*/ 870302 h 1498873"/>
              <a:gd name="connsiteX11" fmla="*/ 580367 w 1699080"/>
              <a:gd name="connsiteY11" fmla="*/ 862206 h 1498873"/>
              <a:gd name="connsiteX12" fmla="*/ 512359 w 1699080"/>
              <a:gd name="connsiteY12" fmla="*/ 804450 h 1498873"/>
              <a:gd name="connsiteX13" fmla="*/ 442294 w 1699080"/>
              <a:gd name="connsiteY13" fmla="*/ 739449 h 1498873"/>
              <a:gd name="connsiteX14" fmla="*/ 472576 w 1699080"/>
              <a:gd name="connsiteY14" fmla="*/ 713804 h 1498873"/>
              <a:gd name="connsiteX15" fmla="*/ 562043 w 1699080"/>
              <a:gd name="connsiteY15" fmla="*/ 786075 h 1498873"/>
              <a:gd name="connsiteX16" fmla="*/ 646897 w 1699080"/>
              <a:gd name="connsiteY16" fmla="*/ 855613 h 1498873"/>
              <a:gd name="connsiteX17" fmla="*/ 650256 w 1699080"/>
              <a:gd name="connsiteY17" fmla="*/ 819966 h 1498873"/>
              <a:gd name="connsiteX18" fmla="*/ 650256 w 1699080"/>
              <a:gd name="connsiteY18" fmla="*/ 784345 h 1498873"/>
              <a:gd name="connsiteX19" fmla="*/ 594932 w 1699080"/>
              <a:gd name="connsiteY19" fmla="*/ 737193 h 1498873"/>
              <a:gd name="connsiteX20" fmla="*/ 539582 w 1699080"/>
              <a:gd name="connsiteY20" fmla="*/ 680615 h 1498873"/>
              <a:gd name="connsiteX21" fmla="*/ 563070 w 1699080"/>
              <a:gd name="connsiteY21" fmla="*/ 659408 h 1498873"/>
              <a:gd name="connsiteX22" fmla="*/ 613181 w 1699080"/>
              <a:gd name="connsiteY22" fmla="*/ 692372 h 1498873"/>
              <a:gd name="connsiteX23" fmla="*/ 651911 w 1699080"/>
              <a:gd name="connsiteY23" fmla="*/ 725311 h 1498873"/>
              <a:gd name="connsiteX24" fmla="*/ 653816 w 1699080"/>
              <a:gd name="connsiteY24" fmla="*/ 705959 h 1498873"/>
              <a:gd name="connsiteX25" fmla="*/ 663141 w 1699080"/>
              <a:gd name="connsiteY25" fmla="*/ 675451 h 1498873"/>
              <a:gd name="connsiteX26" fmla="*/ 670611 w 1699080"/>
              <a:gd name="connsiteY26" fmla="*/ 664321 h 1498873"/>
              <a:gd name="connsiteX27" fmla="*/ 643839 w 1699080"/>
              <a:gd name="connsiteY27" fmla="*/ 640582 h 1498873"/>
              <a:gd name="connsiteX28" fmla="*/ 625213 w 1699080"/>
              <a:gd name="connsiteY28" fmla="*/ 593404 h 1498873"/>
              <a:gd name="connsiteX29" fmla="*/ 685727 w 1699080"/>
              <a:gd name="connsiteY29" fmla="*/ 616291 h 1498873"/>
              <a:gd name="connsiteX30" fmla="*/ 712900 w 1699080"/>
              <a:gd name="connsiteY30" fmla="*/ 639855 h 1498873"/>
              <a:gd name="connsiteX31" fmla="*/ 732202 w 1699080"/>
              <a:gd name="connsiteY31" fmla="*/ 640306 h 1498873"/>
              <a:gd name="connsiteX32" fmla="*/ 759827 w 1699080"/>
              <a:gd name="connsiteY32" fmla="*/ 642788 h 1498873"/>
              <a:gd name="connsiteX33" fmla="*/ 774492 w 1699080"/>
              <a:gd name="connsiteY33" fmla="*/ 632560 h 1498873"/>
              <a:gd name="connsiteX34" fmla="*/ 780884 w 1699080"/>
              <a:gd name="connsiteY34" fmla="*/ 620252 h 1498873"/>
              <a:gd name="connsiteX35" fmla="*/ 740826 w 1699080"/>
              <a:gd name="connsiteY35" fmla="*/ 586060 h 1498873"/>
              <a:gd name="connsiteX36" fmla="*/ 697007 w 1699080"/>
              <a:gd name="connsiteY36" fmla="*/ 545675 h 1498873"/>
              <a:gd name="connsiteX37" fmla="*/ 720872 w 1699080"/>
              <a:gd name="connsiteY37" fmla="*/ 515945 h 1498873"/>
              <a:gd name="connsiteX38" fmla="*/ 776497 w 1699080"/>
              <a:gd name="connsiteY38" fmla="*/ 555853 h 1498873"/>
              <a:gd name="connsiteX39" fmla="*/ 822772 w 1699080"/>
              <a:gd name="connsiteY39" fmla="*/ 595761 h 1498873"/>
              <a:gd name="connsiteX40" fmla="*/ 845233 w 1699080"/>
              <a:gd name="connsiteY40" fmla="*/ 596262 h 1498873"/>
              <a:gd name="connsiteX41" fmla="*/ 903214 w 1699080"/>
              <a:gd name="connsiteY41" fmla="*/ 617419 h 1498873"/>
              <a:gd name="connsiteX42" fmla="*/ 925750 w 1699080"/>
              <a:gd name="connsiteY42" fmla="*/ 657152 h 1498873"/>
              <a:gd name="connsiteX43" fmla="*/ 934348 w 1699080"/>
              <a:gd name="connsiteY43" fmla="*/ 659357 h 1498873"/>
              <a:gd name="connsiteX44" fmla="*/ 957937 w 1699080"/>
              <a:gd name="connsiteY44" fmla="*/ 656500 h 1498873"/>
              <a:gd name="connsiteX45" fmla="*/ 970998 w 1699080"/>
              <a:gd name="connsiteY45" fmla="*/ 651862 h 1498873"/>
              <a:gd name="connsiteX46" fmla="*/ 968992 w 1699080"/>
              <a:gd name="connsiteY46" fmla="*/ 644843 h 1498873"/>
              <a:gd name="connsiteX47" fmla="*/ 841172 w 1699080"/>
              <a:gd name="connsiteY47" fmla="*/ 533643 h 1498873"/>
              <a:gd name="connsiteX48" fmla="*/ 711271 w 1699080"/>
              <a:gd name="connsiteY48" fmla="*/ 417404 h 1498873"/>
              <a:gd name="connsiteX49" fmla="*/ 734408 w 1699080"/>
              <a:gd name="connsiteY49" fmla="*/ 393514 h 1498873"/>
              <a:gd name="connsiteX50" fmla="*/ 784494 w 1699080"/>
              <a:gd name="connsiteY50" fmla="*/ 424724 h 1498873"/>
              <a:gd name="connsiteX51" fmla="*/ 853881 w 1699080"/>
              <a:gd name="connsiteY51" fmla="*/ 456309 h 1498873"/>
              <a:gd name="connsiteX52" fmla="*/ 871353 w 1699080"/>
              <a:gd name="connsiteY52" fmla="*/ 414045 h 1498873"/>
              <a:gd name="connsiteX53" fmla="*/ 705029 w 1699080"/>
              <a:gd name="connsiteY53" fmla="*/ 270833 h 1498873"/>
              <a:gd name="connsiteX54" fmla="*/ 630327 w 1699080"/>
              <a:gd name="connsiteY54" fmla="*/ 235262 h 1498873"/>
              <a:gd name="connsiteX55" fmla="*/ 568911 w 1699080"/>
              <a:gd name="connsiteY55" fmla="*/ 224583 h 1498873"/>
              <a:gd name="connsiteX56" fmla="*/ 510879 w 1699080"/>
              <a:gd name="connsiteY56" fmla="*/ 215509 h 1498873"/>
              <a:gd name="connsiteX57" fmla="*/ 464930 w 1699080"/>
              <a:gd name="connsiteY57" fmla="*/ 181166 h 1498873"/>
              <a:gd name="connsiteX58" fmla="*/ 427229 w 1699080"/>
              <a:gd name="connsiteY58" fmla="*/ 148452 h 1498873"/>
              <a:gd name="connsiteX59" fmla="*/ 371904 w 1699080"/>
              <a:gd name="connsiteY59" fmla="*/ 198462 h 1498873"/>
              <a:gd name="connsiteX60" fmla="*/ 242755 w 1699080"/>
              <a:gd name="connsiteY60" fmla="*/ 315930 h 1498873"/>
              <a:gd name="connsiteX61" fmla="*/ 168931 w 1699080"/>
              <a:gd name="connsiteY61" fmla="*/ 383362 h 1498873"/>
              <a:gd name="connsiteX62" fmla="*/ 208864 w 1699080"/>
              <a:gd name="connsiteY62" fmla="*/ 416702 h 1498873"/>
              <a:gd name="connsiteX63" fmla="*/ 258097 w 1699080"/>
              <a:gd name="connsiteY63" fmla="*/ 473481 h 1498873"/>
              <a:gd name="connsiteX64" fmla="*/ 367217 w 1699080"/>
              <a:gd name="connsiteY64" fmla="*/ 619124 h 1498873"/>
              <a:gd name="connsiteX65" fmla="*/ 413216 w 1699080"/>
              <a:gd name="connsiteY65" fmla="*/ 671791 h 1498873"/>
              <a:gd name="connsiteX66" fmla="*/ 392284 w 1699080"/>
              <a:gd name="connsiteY66" fmla="*/ 690442 h 1498873"/>
              <a:gd name="connsiteX67" fmla="*/ 349168 w 1699080"/>
              <a:gd name="connsiteY67" fmla="*/ 665048 h 1498873"/>
              <a:gd name="connsiteX68" fmla="*/ 212148 w 1699080"/>
              <a:gd name="connsiteY68" fmla="*/ 490802 h 1498873"/>
              <a:gd name="connsiteX69" fmla="*/ 165522 w 1699080"/>
              <a:gd name="connsiteY69" fmla="*/ 440291 h 1498873"/>
              <a:gd name="connsiteX70" fmla="*/ 116790 w 1699080"/>
              <a:gd name="connsiteY70" fmla="*/ 407527 h 1498873"/>
              <a:gd name="connsiteX71" fmla="*/ 41085 w 1699080"/>
              <a:gd name="connsiteY71" fmla="*/ 361177 h 1498873"/>
              <a:gd name="connsiteX72" fmla="*/ 6392 w 1699080"/>
              <a:gd name="connsiteY72" fmla="*/ 304048 h 1498873"/>
              <a:gd name="connsiteX73" fmla="*/ 24917 w 1699080"/>
              <a:gd name="connsiteY73" fmla="*/ 296327 h 1498873"/>
              <a:gd name="connsiteX74" fmla="*/ 75579 w 1699080"/>
              <a:gd name="connsiteY74" fmla="*/ 329993 h 1498873"/>
              <a:gd name="connsiteX75" fmla="*/ 118043 w 1699080"/>
              <a:gd name="connsiteY75" fmla="*/ 363684 h 1498873"/>
              <a:gd name="connsiteX76" fmla="*/ 205730 w 1699080"/>
              <a:gd name="connsiteY76" fmla="*/ 286801 h 1498873"/>
              <a:gd name="connsiteX77" fmla="*/ 345608 w 1699080"/>
              <a:gd name="connsiteY77" fmla="*/ 159608 h 1498873"/>
              <a:gd name="connsiteX78" fmla="*/ 401233 w 1699080"/>
              <a:gd name="connsiteY78" fmla="*/ 105085 h 1498873"/>
              <a:gd name="connsiteX79" fmla="*/ 361401 w 1699080"/>
              <a:gd name="connsiteY79" fmla="*/ 66080 h 1498873"/>
              <a:gd name="connsiteX80" fmla="*/ 329715 w 1699080"/>
              <a:gd name="connsiteY80" fmla="*/ 7772 h 1498873"/>
              <a:gd name="connsiteX81" fmla="*/ 395568 w 1699080"/>
              <a:gd name="connsiteY81" fmla="*/ 34595 h 1498873"/>
              <a:gd name="connsiteX82" fmla="*/ 451018 w 1699080"/>
              <a:gd name="connsiteY82" fmla="*/ 98718 h 1498873"/>
              <a:gd name="connsiteX83" fmla="*/ 488444 w 1699080"/>
              <a:gd name="connsiteY83" fmla="*/ 140431 h 1498873"/>
              <a:gd name="connsiteX84" fmla="*/ 525845 w 1699080"/>
              <a:gd name="connsiteY84" fmla="*/ 173320 h 1498873"/>
              <a:gd name="connsiteX85" fmla="*/ 573925 w 1699080"/>
              <a:gd name="connsiteY85" fmla="*/ 180715 h 1498873"/>
              <a:gd name="connsiteX86" fmla="*/ 803595 w 1699080"/>
              <a:gd name="connsiteY86" fmla="*/ 291915 h 1498873"/>
              <a:gd name="connsiteX87" fmla="*/ 869649 w 1699080"/>
              <a:gd name="connsiteY87" fmla="*/ 346111 h 1498873"/>
              <a:gd name="connsiteX88" fmla="*/ 934399 w 1699080"/>
              <a:gd name="connsiteY88" fmla="*/ 296051 h 1498873"/>
              <a:gd name="connsiteX89" fmla="*/ 1141157 w 1699080"/>
              <a:gd name="connsiteY89" fmla="*/ 180263 h 1498873"/>
              <a:gd name="connsiteX90" fmla="*/ 1214204 w 1699080"/>
              <a:gd name="connsiteY90" fmla="*/ 139202 h 1498873"/>
              <a:gd name="connsiteX91" fmla="*/ 1253811 w 1699080"/>
              <a:gd name="connsiteY91" fmla="*/ 101927 h 1498873"/>
              <a:gd name="connsiteX92" fmla="*/ 1304774 w 1699080"/>
              <a:gd name="connsiteY92" fmla="*/ 40009 h 1498873"/>
              <a:gd name="connsiteX93" fmla="*/ 1365062 w 1699080"/>
              <a:gd name="connsiteY93" fmla="*/ 678 h 1498873"/>
              <a:gd name="connsiteX94" fmla="*/ 1387322 w 1699080"/>
              <a:gd name="connsiteY94" fmla="*/ 23640 h 1498873"/>
              <a:gd name="connsiteX95" fmla="*/ 1346662 w 1699080"/>
              <a:gd name="connsiteY95" fmla="*/ 65478 h 1498873"/>
              <a:gd name="connsiteX96" fmla="*/ 1304975 w 1699080"/>
              <a:gd name="connsiteY96" fmla="*/ 102052 h 1498873"/>
              <a:gd name="connsiteX97" fmla="*/ 1378774 w 1699080"/>
              <a:gd name="connsiteY97" fmla="*/ 178208 h 1498873"/>
              <a:gd name="connsiteX98" fmla="*/ 1453651 w 1699080"/>
              <a:gd name="connsiteY98" fmla="*/ 260455 h 1498873"/>
              <a:gd name="connsiteX99" fmla="*/ 1410936 w 1699080"/>
              <a:gd name="connsiteY99" fmla="*/ 273641 h 1498873"/>
              <a:gd name="connsiteX100" fmla="*/ 1347389 w 1699080"/>
              <a:gd name="connsiteY100" fmla="*/ 212877 h 1498873"/>
              <a:gd name="connsiteX101" fmla="*/ 1286099 w 1699080"/>
              <a:gd name="connsiteY101" fmla="*/ 153316 h 1498873"/>
              <a:gd name="connsiteX102" fmla="*/ 1278679 w 1699080"/>
              <a:gd name="connsiteY102" fmla="*/ 146447 h 1498873"/>
              <a:gd name="connsiteX103" fmla="*/ 1238144 w 1699080"/>
              <a:gd name="connsiteY103" fmla="*/ 178910 h 1498873"/>
              <a:gd name="connsiteX104" fmla="*/ 1178759 w 1699080"/>
              <a:gd name="connsiteY104" fmla="*/ 215935 h 1498873"/>
              <a:gd name="connsiteX105" fmla="*/ 1041814 w 1699080"/>
              <a:gd name="connsiteY105" fmla="*/ 271961 h 1498873"/>
              <a:gd name="connsiteX106" fmla="*/ 925048 w 1699080"/>
              <a:gd name="connsiteY106" fmla="*/ 362456 h 1498873"/>
              <a:gd name="connsiteX107" fmla="*/ 905997 w 1699080"/>
              <a:gd name="connsiteY107" fmla="*/ 377922 h 1498873"/>
              <a:gd name="connsiteX108" fmla="*/ 914244 w 1699080"/>
              <a:gd name="connsiteY108" fmla="*/ 392035 h 1498873"/>
              <a:gd name="connsiteX109" fmla="*/ 921363 w 1699080"/>
              <a:gd name="connsiteY109" fmla="*/ 448964 h 1498873"/>
              <a:gd name="connsiteX110" fmla="*/ 882809 w 1699080"/>
              <a:gd name="connsiteY110" fmla="*/ 492457 h 1498873"/>
              <a:gd name="connsiteX111" fmla="*/ 872707 w 1699080"/>
              <a:gd name="connsiteY111" fmla="*/ 498423 h 1498873"/>
              <a:gd name="connsiteX112" fmla="*/ 907551 w 1699080"/>
              <a:gd name="connsiteY112" fmla="*/ 529156 h 1498873"/>
              <a:gd name="connsiteX113" fmla="*/ 942370 w 1699080"/>
              <a:gd name="connsiteY113" fmla="*/ 557608 h 1498873"/>
              <a:gd name="connsiteX114" fmla="*/ 962524 w 1699080"/>
              <a:gd name="connsiteY114" fmla="*/ 541163 h 1498873"/>
              <a:gd name="connsiteX115" fmla="*/ 1008198 w 1699080"/>
              <a:gd name="connsiteY115" fmla="*/ 530685 h 1498873"/>
              <a:gd name="connsiteX116" fmla="*/ 996616 w 1699080"/>
              <a:gd name="connsiteY116" fmla="*/ 572122 h 1498873"/>
              <a:gd name="connsiteX117" fmla="*/ 977741 w 1699080"/>
              <a:gd name="connsiteY117" fmla="*/ 588917 h 1498873"/>
              <a:gd name="connsiteX118" fmla="*/ 994110 w 1699080"/>
              <a:gd name="connsiteY118" fmla="*/ 604534 h 1498873"/>
              <a:gd name="connsiteX119" fmla="*/ 1014164 w 1699080"/>
              <a:gd name="connsiteY119" fmla="*/ 625867 h 1498873"/>
              <a:gd name="connsiteX120" fmla="*/ 1038430 w 1699080"/>
              <a:gd name="connsiteY120" fmla="*/ 614737 h 1498873"/>
              <a:gd name="connsiteX121" fmla="*/ 1083100 w 1699080"/>
              <a:gd name="connsiteY121" fmla="*/ 604008 h 1498873"/>
              <a:gd name="connsiteX122" fmla="*/ 1091849 w 1699080"/>
              <a:gd name="connsiteY122" fmla="*/ 619851 h 1498873"/>
              <a:gd name="connsiteX123" fmla="*/ 1057932 w 1699080"/>
              <a:gd name="connsiteY123" fmla="*/ 657553 h 1498873"/>
              <a:gd name="connsiteX124" fmla="*/ 1024016 w 1699080"/>
              <a:gd name="connsiteY124" fmla="*/ 685428 h 1498873"/>
              <a:gd name="connsiteX125" fmla="*/ 1029631 w 1699080"/>
              <a:gd name="connsiteY125" fmla="*/ 695806 h 1498873"/>
              <a:gd name="connsiteX126" fmla="*/ 1043844 w 1699080"/>
              <a:gd name="connsiteY126" fmla="*/ 703301 h 1498873"/>
              <a:gd name="connsiteX127" fmla="*/ 1096010 w 1699080"/>
              <a:gd name="connsiteY127" fmla="*/ 703076 h 1498873"/>
              <a:gd name="connsiteX128" fmla="*/ 1110249 w 1699080"/>
              <a:gd name="connsiteY128" fmla="*/ 695405 h 1498873"/>
              <a:gd name="connsiteX129" fmla="*/ 1156398 w 1699080"/>
              <a:gd name="connsiteY129" fmla="*/ 653216 h 1498873"/>
              <a:gd name="connsiteX130" fmla="*/ 1206884 w 1699080"/>
              <a:gd name="connsiteY130" fmla="*/ 621355 h 1498873"/>
              <a:gd name="connsiteX131" fmla="*/ 1224407 w 1699080"/>
              <a:gd name="connsiteY131" fmla="*/ 629076 h 1498873"/>
              <a:gd name="connsiteX132" fmla="*/ 1205656 w 1699080"/>
              <a:gd name="connsiteY132" fmla="*/ 672393 h 1498873"/>
              <a:gd name="connsiteX133" fmla="*/ 1149179 w 1699080"/>
              <a:gd name="connsiteY133" fmla="*/ 730475 h 1498873"/>
              <a:gd name="connsiteX134" fmla="*/ 1159156 w 1699080"/>
              <a:gd name="connsiteY134" fmla="*/ 754515 h 1498873"/>
              <a:gd name="connsiteX135" fmla="*/ 1200217 w 1699080"/>
              <a:gd name="connsiteY135" fmla="*/ 761082 h 1498873"/>
              <a:gd name="connsiteX136" fmla="*/ 1385743 w 1699080"/>
              <a:gd name="connsiteY136" fmla="*/ 608244 h 1498873"/>
              <a:gd name="connsiteX137" fmla="*/ 1445404 w 1699080"/>
              <a:gd name="connsiteY137" fmla="*/ 458515 h 1498873"/>
              <a:gd name="connsiteX138" fmla="*/ 1522913 w 1699080"/>
              <a:gd name="connsiteY138" fmla="*/ 391309 h 1498873"/>
              <a:gd name="connsiteX139" fmla="*/ 1503737 w 1699080"/>
              <a:gd name="connsiteY139" fmla="*/ 364787 h 1498873"/>
              <a:gd name="connsiteX140" fmla="*/ 1478117 w 1699080"/>
              <a:gd name="connsiteY140" fmla="*/ 334906 h 1498873"/>
              <a:gd name="connsiteX141" fmla="*/ 1507547 w 1699080"/>
              <a:gd name="connsiteY141" fmla="*/ 309036 h 1498873"/>
              <a:gd name="connsiteX142" fmla="*/ 1545098 w 1699080"/>
              <a:gd name="connsiteY142" fmla="*/ 340145 h 1498873"/>
              <a:gd name="connsiteX143" fmla="*/ 1578915 w 1699080"/>
              <a:gd name="connsiteY143" fmla="*/ 369525 h 1498873"/>
              <a:gd name="connsiteX144" fmla="*/ 1623209 w 1699080"/>
              <a:gd name="connsiteY144" fmla="*/ 337313 h 1498873"/>
              <a:gd name="connsiteX145" fmla="*/ 1674548 w 1699080"/>
              <a:gd name="connsiteY145" fmla="*/ 305100 h 1498873"/>
              <a:gd name="connsiteX146" fmla="*/ 1692547 w 1699080"/>
              <a:gd name="connsiteY146" fmla="*/ 312822 h 1498873"/>
              <a:gd name="connsiteX147" fmla="*/ 1655396 w 1699080"/>
              <a:gd name="connsiteY147" fmla="*/ 371004 h 1498873"/>
              <a:gd name="connsiteX148" fmla="*/ 1583477 w 1699080"/>
              <a:gd name="connsiteY148" fmla="*/ 413042 h 1498873"/>
              <a:gd name="connsiteX149" fmla="*/ 1529556 w 1699080"/>
              <a:gd name="connsiteY149" fmla="*/ 444628 h 1498873"/>
              <a:gd name="connsiteX150" fmla="*/ 1491855 w 1699080"/>
              <a:gd name="connsiteY150" fmla="*/ 474333 h 1498873"/>
              <a:gd name="connsiteX151" fmla="*/ 1479170 w 1699080"/>
              <a:gd name="connsiteY151" fmla="*/ 520959 h 1498873"/>
              <a:gd name="connsiteX152" fmla="*/ 1422918 w 1699080"/>
              <a:gd name="connsiteY152" fmla="*/ 637899 h 1498873"/>
              <a:gd name="connsiteX153" fmla="*/ 1224257 w 1699080"/>
              <a:gd name="connsiteY153" fmla="*/ 799085 h 1498873"/>
              <a:gd name="connsiteX154" fmla="*/ 1166049 w 1699080"/>
              <a:gd name="connsiteY154" fmla="*/ 806630 h 1498873"/>
              <a:gd name="connsiteX155" fmla="*/ 1151611 w 1699080"/>
              <a:gd name="connsiteY155" fmla="*/ 803722 h 1498873"/>
              <a:gd name="connsiteX156" fmla="*/ 1151611 w 1699080"/>
              <a:gd name="connsiteY156" fmla="*/ 900960 h 1498873"/>
              <a:gd name="connsiteX157" fmla="*/ 1138199 w 1699080"/>
              <a:gd name="connsiteY157" fmla="*/ 1019656 h 1498873"/>
              <a:gd name="connsiteX158" fmla="*/ 1110098 w 1699080"/>
              <a:gd name="connsiteY158" fmla="*/ 1017901 h 1498873"/>
              <a:gd name="connsiteX159" fmla="*/ 1101801 w 1699080"/>
              <a:gd name="connsiteY159" fmla="*/ 886296 h 1498873"/>
              <a:gd name="connsiteX160" fmla="*/ 1100146 w 1699080"/>
              <a:gd name="connsiteY160" fmla="*/ 759102 h 1498873"/>
              <a:gd name="connsiteX161" fmla="*/ 1091849 w 1699080"/>
              <a:gd name="connsiteY161" fmla="*/ 751958 h 1498873"/>
              <a:gd name="connsiteX162" fmla="*/ 1047003 w 1699080"/>
              <a:gd name="connsiteY162" fmla="*/ 751958 h 1498873"/>
              <a:gd name="connsiteX163" fmla="*/ 1038981 w 1699080"/>
              <a:gd name="connsiteY163" fmla="*/ 759578 h 1498873"/>
              <a:gd name="connsiteX164" fmla="*/ 1038029 w 1699080"/>
              <a:gd name="connsiteY164" fmla="*/ 851777 h 1498873"/>
              <a:gd name="connsiteX165" fmla="*/ 1037051 w 1699080"/>
              <a:gd name="connsiteY165" fmla="*/ 943976 h 1498873"/>
              <a:gd name="connsiteX166" fmla="*/ 1029230 w 1699080"/>
              <a:gd name="connsiteY166" fmla="*/ 949566 h 1498873"/>
              <a:gd name="connsiteX167" fmla="*/ 997068 w 1699080"/>
              <a:gd name="connsiteY167" fmla="*/ 947987 h 1498873"/>
              <a:gd name="connsiteX168" fmla="*/ 988921 w 1699080"/>
              <a:gd name="connsiteY168" fmla="*/ 940792 h 1498873"/>
              <a:gd name="connsiteX169" fmla="*/ 988921 w 1699080"/>
              <a:gd name="connsiteY169" fmla="*/ 829166 h 1498873"/>
              <a:gd name="connsiteX170" fmla="*/ 988921 w 1699080"/>
              <a:gd name="connsiteY170" fmla="*/ 717540 h 1498873"/>
              <a:gd name="connsiteX171" fmla="*/ 979219 w 1699080"/>
              <a:gd name="connsiteY171" fmla="*/ 708967 h 1498873"/>
              <a:gd name="connsiteX172" fmla="*/ 935527 w 1699080"/>
              <a:gd name="connsiteY172" fmla="*/ 708967 h 1498873"/>
              <a:gd name="connsiteX173" fmla="*/ 925825 w 1699080"/>
              <a:gd name="connsiteY173" fmla="*/ 717540 h 1498873"/>
              <a:gd name="connsiteX174" fmla="*/ 925825 w 1699080"/>
              <a:gd name="connsiteY174" fmla="*/ 829166 h 1498873"/>
              <a:gd name="connsiteX175" fmla="*/ 925825 w 1699080"/>
              <a:gd name="connsiteY175" fmla="*/ 940792 h 1498873"/>
              <a:gd name="connsiteX176" fmla="*/ 917679 w 1699080"/>
              <a:gd name="connsiteY176" fmla="*/ 947987 h 1498873"/>
              <a:gd name="connsiteX177" fmla="*/ 884188 w 1699080"/>
              <a:gd name="connsiteY177" fmla="*/ 947987 h 1498873"/>
              <a:gd name="connsiteX178" fmla="*/ 876016 w 1699080"/>
              <a:gd name="connsiteY178" fmla="*/ 940792 h 1498873"/>
              <a:gd name="connsiteX179" fmla="*/ 876016 w 1699080"/>
              <a:gd name="connsiteY179" fmla="*/ 798408 h 1498873"/>
              <a:gd name="connsiteX180" fmla="*/ 876016 w 1699080"/>
              <a:gd name="connsiteY180" fmla="*/ 656048 h 1498873"/>
              <a:gd name="connsiteX181" fmla="*/ 866315 w 1699080"/>
              <a:gd name="connsiteY181" fmla="*/ 647475 h 1498873"/>
              <a:gd name="connsiteX182" fmla="*/ 831120 w 1699080"/>
              <a:gd name="connsiteY182" fmla="*/ 642412 h 1498873"/>
              <a:gd name="connsiteX183" fmla="*/ 812945 w 1699080"/>
              <a:gd name="connsiteY183" fmla="*/ 801416 h 1498873"/>
              <a:gd name="connsiteX184" fmla="*/ 812945 w 1699080"/>
              <a:gd name="connsiteY184" fmla="*/ 940792 h 1498873"/>
              <a:gd name="connsiteX185" fmla="*/ 804798 w 1699080"/>
              <a:gd name="connsiteY185" fmla="*/ 947987 h 1498873"/>
              <a:gd name="connsiteX186" fmla="*/ 791663 w 1699080"/>
              <a:gd name="connsiteY186" fmla="*/ 955157 h 1498873"/>
              <a:gd name="connsiteX187" fmla="*/ 766821 w 1699080"/>
              <a:gd name="connsiteY187" fmla="*/ 941520 h 1498873"/>
              <a:gd name="connsiteX188" fmla="*/ 763136 w 1699080"/>
              <a:gd name="connsiteY188" fmla="*/ 817184 h 1498873"/>
              <a:gd name="connsiteX189" fmla="*/ 763136 w 1699080"/>
              <a:gd name="connsiteY189" fmla="*/ 699967 h 1498873"/>
              <a:gd name="connsiteX190" fmla="*/ 753435 w 1699080"/>
              <a:gd name="connsiteY190" fmla="*/ 691394 h 1498873"/>
              <a:gd name="connsiteX191" fmla="*/ 705204 w 1699080"/>
              <a:gd name="connsiteY191" fmla="*/ 699065 h 1498873"/>
              <a:gd name="connsiteX192" fmla="*/ 700066 w 1699080"/>
              <a:gd name="connsiteY192" fmla="*/ 862306 h 1498873"/>
              <a:gd name="connsiteX193" fmla="*/ 693924 w 1699080"/>
              <a:gd name="connsiteY193" fmla="*/ 1022689 h 1498873"/>
              <a:gd name="connsiteX194" fmla="*/ 659205 w 1699080"/>
              <a:gd name="connsiteY194" fmla="*/ 1022940 h 1498873"/>
              <a:gd name="connsiteX195" fmla="*/ 650256 w 1699080"/>
              <a:gd name="connsiteY195" fmla="*/ 967239 h 1498873"/>
              <a:gd name="connsiteX196" fmla="*/ 627570 w 1699080"/>
              <a:gd name="connsiteY196" fmla="*/ 903316 h 1498873"/>
              <a:gd name="connsiteX197" fmla="*/ 587236 w 1699080"/>
              <a:gd name="connsiteY197" fmla="*/ 913319 h 1498873"/>
              <a:gd name="connsiteX198" fmla="*/ 580543 w 1699080"/>
              <a:gd name="connsiteY198" fmla="*/ 1028305 h 1498873"/>
              <a:gd name="connsiteX199" fmla="*/ 642435 w 1699080"/>
              <a:gd name="connsiteY199" fmla="*/ 1252109 h 1498873"/>
              <a:gd name="connsiteX200" fmla="*/ 673494 w 1699080"/>
              <a:gd name="connsiteY200" fmla="*/ 1292844 h 1498873"/>
              <a:gd name="connsiteX201" fmla="*/ 673494 w 1699080"/>
              <a:gd name="connsiteY201" fmla="*/ 1340698 h 1498873"/>
              <a:gd name="connsiteX202" fmla="*/ 673494 w 1699080"/>
              <a:gd name="connsiteY202" fmla="*/ 1388527 h 1498873"/>
              <a:gd name="connsiteX203" fmla="*/ 859421 w 1699080"/>
              <a:gd name="connsiteY203" fmla="*/ 1388527 h 1498873"/>
              <a:gd name="connsiteX204" fmla="*/ 1045348 w 1699080"/>
              <a:gd name="connsiteY204" fmla="*/ 1388527 h 1498873"/>
              <a:gd name="connsiteX205" fmla="*/ 1045348 w 1699080"/>
              <a:gd name="connsiteY205" fmla="*/ 1338843 h 1498873"/>
              <a:gd name="connsiteX206" fmla="*/ 1045348 w 1699080"/>
              <a:gd name="connsiteY206" fmla="*/ 1289134 h 1498873"/>
              <a:gd name="connsiteX207" fmla="*/ 1058283 w 1699080"/>
              <a:gd name="connsiteY207" fmla="*/ 1266372 h 1498873"/>
              <a:gd name="connsiteX208" fmla="*/ 1100372 w 1699080"/>
              <a:gd name="connsiteY208" fmla="*/ 1119751 h 1498873"/>
              <a:gd name="connsiteX209" fmla="*/ 1111026 w 1699080"/>
              <a:gd name="connsiteY209" fmla="*/ 1078038 h 1498873"/>
              <a:gd name="connsiteX210" fmla="*/ 1140581 w 1699080"/>
              <a:gd name="connsiteY210" fmla="*/ 1079317 h 1498873"/>
              <a:gd name="connsiteX211" fmla="*/ 1149830 w 1699080"/>
              <a:gd name="connsiteY211" fmla="*/ 1086336 h 1498873"/>
              <a:gd name="connsiteX212" fmla="*/ 1148878 w 1699080"/>
              <a:gd name="connsiteY212" fmla="*/ 1120829 h 1498873"/>
              <a:gd name="connsiteX213" fmla="*/ 1108419 w 1699080"/>
              <a:gd name="connsiteY213" fmla="*/ 1276224 h 1498873"/>
              <a:gd name="connsiteX214" fmla="*/ 1093453 w 1699080"/>
              <a:gd name="connsiteY214" fmla="*/ 1348895 h 1498873"/>
              <a:gd name="connsiteX215" fmla="*/ 1091022 w 1699080"/>
              <a:gd name="connsiteY215" fmla="*/ 1397702 h 1498873"/>
              <a:gd name="connsiteX216" fmla="*/ 1099520 w 1699080"/>
              <a:gd name="connsiteY216" fmla="*/ 1405573 h 1498873"/>
              <a:gd name="connsiteX217" fmla="*/ 1115087 w 1699080"/>
              <a:gd name="connsiteY217" fmla="*/ 1457664 h 1498873"/>
              <a:gd name="connsiteX218" fmla="*/ 1106940 w 1699080"/>
              <a:gd name="connsiteY218" fmla="*/ 1492608 h 1498873"/>
              <a:gd name="connsiteX219" fmla="*/ 1080543 w 1699080"/>
              <a:gd name="connsiteY219" fmla="*/ 1496469 h 1498873"/>
              <a:gd name="connsiteX220" fmla="*/ 1065452 w 1699080"/>
              <a:gd name="connsiteY220" fmla="*/ 1458817 h 1498873"/>
              <a:gd name="connsiteX221" fmla="*/ 1063623 w 1699080"/>
              <a:gd name="connsiteY221" fmla="*/ 1433925 h 1498873"/>
              <a:gd name="connsiteX222" fmla="*/ 859421 w 1699080"/>
              <a:gd name="connsiteY222" fmla="*/ 1433925 h 1498873"/>
              <a:gd name="connsiteX223" fmla="*/ 655244 w 1699080"/>
              <a:gd name="connsiteY223" fmla="*/ 1433925 h 1498873"/>
              <a:gd name="connsiteX224" fmla="*/ 653465 w 1699080"/>
              <a:gd name="connsiteY224" fmla="*/ 1459870 h 1498873"/>
              <a:gd name="connsiteX225" fmla="*/ 642485 w 1699080"/>
              <a:gd name="connsiteY225" fmla="*/ 1492809 h 1498873"/>
              <a:gd name="connsiteX226" fmla="*/ 620375 w 1699080"/>
              <a:gd name="connsiteY226" fmla="*/ 1497722 h 149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699080" h="1498873">
                <a:moveTo>
                  <a:pt x="620375" y="1497722"/>
                </a:moveTo>
                <a:cubicBezTo>
                  <a:pt x="605686" y="1492959"/>
                  <a:pt x="603781" y="1488247"/>
                  <a:pt x="603781" y="1456561"/>
                </a:cubicBezTo>
                <a:cubicBezTo>
                  <a:pt x="603781" y="1430490"/>
                  <a:pt x="604858" y="1424249"/>
                  <a:pt x="611025" y="1414548"/>
                </a:cubicBezTo>
                <a:cubicBezTo>
                  <a:pt x="615011" y="1408306"/>
                  <a:pt x="619498" y="1403167"/>
                  <a:pt x="620977" y="1403167"/>
                </a:cubicBezTo>
                <a:cubicBezTo>
                  <a:pt x="622481" y="1403167"/>
                  <a:pt x="623684" y="1381157"/>
                  <a:pt x="623684" y="1354260"/>
                </a:cubicBezTo>
                <a:lnTo>
                  <a:pt x="623684" y="1305352"/>
                </a:lnTo>
                <a:lnTo>
                  <a:pt x="597313" y="1271311"/>
                </a:lnTo>
                <a:cubicBezTo>
                  <a:pt x="566204" y="1231152"/>
                  <a:pt x="550486" y="1204505"/>
                  <a:pt x="540234" y="1174624"/>
                </a:cubicBezTo>
                <a:cubicBezTo>
                  <a:pt x="533140" y="1153893"/>
                  <a:pt x="532713" y="1147075"/>
                  <a:pt x="531535" y="1035874"/>
                </a:cubicBezTo>
                <a:cubicBezTo>
                  <a:pt x="530457" y="933272"/>
                  <a:pt x="530984" y="917379"/>
                  <a:pt x="535697" y="906450"/>
                </a:cubicBezTo>
                <a:cubicBezTo>
                  <a:pt x="542465" y="890858"/>
                  <a:pt x="551489" y="880655"/>
                  <a:pt x="567683" y="870302"/>
                </a:cubicBezTo>
                <a:lnTo>
                  <a:pt x="580367" y="862206"/>
                </a:lnTo>
                <a:lnTo>
                  <a:pt x="512359" y="804450"/>
                </a:lnTo>
                <a:cubicBezTo>
                  <a:pt x="472777" y="770808"/>
                  <a:pt x="443498" y="743660"/>
                  <a:pt x="442294" y="739449"/>
                </a:cubicBezTo>
                <a:cubicBezTo>
                  <a:pt x="437782" y="723581"/>
                  <a:pt x="456006" y="708139"/>
                  <a:pt x="472576" y="713804"/>
                </a:cubicBezTo>
                <a:cubicBezTo>
                  <a:pt x="476938" y="715284"/>
                  <a:pt x="517222" y="747822"/>
                  <a:pt x="562043" y="786075"/>
                </a:cubicBezTo>
                <a:cubicBezTo>
                  <a:pt x="606889" y="824303"/>
                  <a:pt x="645067" y="855613"/>
                  <a:pt x="646897" y="855613"/>
                </a:cubicBezTo>
                <a:cubicBezTo>
                  <a:pt x="648977" y="855613"/>
                  <a:pt x="650256" y="841976"/>
                  <a:pt x="650256" y="819966"/>
                </a:cubicBezTo>
                <a:lnTo>
                  <a:pt x="650256" y="784345"/>
                </a:lnTo>
                <a:lnTo>
                  <a:pt x="594932" y="737193"/>
                </a:lnTo>
                <a:cubicBezTo>
                  <a:pt x="545899" y="695430"/>
                  <a:pt x="539582" y="688962"/>
                  <a:pt x="539582" y="680615"/>
                </a:cubicBezTo>
                <a:cubicBezTo>
                  <a:pt x="539582" y="667805"/>
                  <a:pt x="548882" y="659408"/>
                  <a:pt x="563070" y="659408"/>
                </a:cubicBezTo>
                <a:cubicBezTo>
                  <a:pt x="573048" y="659408"/>
                  <a:pt x="579164" y="663444"/>
                  <a:pt x="613181" y="692372"/>
                </a:cubicBezTo>
                <a:lnTo>
                  <a:pt x="651911" y="725311"/>
                </a:lnTo>
                <a:lnTo>
                  <a:pt x="653816" y="705959"/>
                </a:lnTo>
                <a:cubicBezTo>
                  <a:pt x="655019" y="693600"/>
                  <a:pt x="658403" y="682545"/>
                  <a:pt x="663141" y="675451"/>
                </a:cubicBezTo>
                <a:lnTo>
                  <a:pt x="670611" y="664321"/>
                </a:lnTo>
                <a:lnTo>
                  <a:pt x="643839" y="640582"/>
                </a:lnTo>
                <a:cubicBezTo>
                  <a:pt x="613933" y="614085"/>
                  <a:pt x="610799" y="606114"/>
                  <a:pt x="625213" y="593404"/>
                </a:cubicBezTo>
                <a:cubicBezTo>
                  <a:pt x="639828" y="580520"/>
                  <a:pt x="648100" y="583653"/>
                  <a:pt x="685727" y="616291"/>
                </a:cubicBezTo>
                <a:lnTo>
                  <a:pt x="712900" y="639855"/>
                </a:lnTo>
                <a:lnTo>
                  <a:pt x="732202" y="640306"/>
                </a:lnTo>
                <a:cubicBezTo>
                  <a:pt x="742831" y="640557"/>
                  <a:pt x="755265" y="641685"/>
                  <a:pt x="759827" y="642788"/>
                </a:cubicBezTo>
                <a:cubicBezTo>
                  <a:pt x="767197" y="644618"/>
                  <a:pt x="768851" y="643464"/>
                  <a:pt x="774492" y="632560"/>
                </a:cubicBezTo>
                <a:lnTo>
                  <a:pt x="780884" y="620252"/>
                </a:lnTo>
                <a:lnTo>
                  <a:pt x="740826" y="586060"/>
                </a:lnTo>
                <a:cubicBezTo>
                  <a:pt x="718816" y="567259"/>
                  <a:pt x="699088" y="549085"/>
                  <a:pt x="697007" y="545675"/>
                </a:cubicBezTo>
                <a:cubicBezTo>
                  <a:pt x="688886" y="532264"/>
                  <a:pt x="701971" y="515945"/>
                  <a:pt x="720872" y="515945"/>
                </a:cubicBezTo>
                <a:cubicBezTo>
                  <a:pt x="728442" y="515945"/>
                  <a:pt x="739171" y="523641"/>
                  <a:pt x="776497" y="555853"/>
                </a:cubicBezTo>
                <a:lnTo>
                  <a:pt x="822772" y="595761"/>
                </a:lnTo>
                <a:lnTo>
                  <a:pt x="845233" y="596262"/>
                </a:lnTo>
                <a:cubicBezTo>
                  <a:pt x="870200" y="596838"/>
                  <a:pt x="888124" y="603356"/>
                  <a:pt x="903214" y="617419"/>
                </a:cubicBezTo>
                <a:cubicBezTo>
                  <a:pt x="912840" y="626393"/>
                  <a:pt x="925650" y="648929"/>
                  <a:pt x="925750" y="657152"/>
                </a:cubicBezTo>
                <a:cubicBezTo>
                  <a:pt x="925800" y="661363"/>
                  <a:pt x="927254" y="661739"/>
                  <a:pt x="934348" y="659357"/>
                </a:cubicBezTo>
                <a:cubicBezTo>
                  <a:pt x="939036" y="657778"/>
                  <a:pt x="949640" y="656500"/>
                  <a:pt x="957937" y="656500"/>
                </a:cubicBezTo>
                <a:cubicBezTo>
                  <a:pt x="970321" y="656500"/>
                  <a:pt x="972652" y="655672"/>
                  <a:pt x="970998" y="651862"/>
                </a:cubicBezTo>
                <a:cubicBezTo>
                  <a:pt x="969894" y="649305"/>
                  <a:pt x="968992" y="646147"/>
                  <a:pt x="968992" y="644843"/>
                </a:cubicBezTo>
                <a:cubicBezTo>
                  <a:pt x="968992" y="643540"/>
                  <a:pt x="911487" y="593480"/>
                  <a:pt x="841172" y="533643"/>
                </a:cubicBezTo>
                <a:cubicBezTo>
                  <a:pt x="761882" y="466110"/>
                  <a:pt x="712574" y="422016"/>
                  <a:pt x="711271" y="417404"/>
                </a:cubicBezTo>
                <a:cubicBezTo>
                  <a:pt x="708062" y="406224"/>
                  <a:pt x="719267" y="394642"/>
                  <a:pt x="734408" y="393514"/>
                </a:cubicBezTo>
                <a:cubicBezTo>
                  <a:pt x="745764" y="392662"/>
                  <a:pt x="748822" y="394567"/>
                  <a:pt x="784494" y="424724"/>
                </a:cubicBezTo>
                <a:cubicBezTo>
                  <a:pt x="825755" y="459593"/>
                  <a:pt x="834353" y="463503"/>
                  <a:pt x="853881" y="456309"/>
                </a:cubicBezTo>
                <a:cubicBezTo>
                  <a:pt x="873058" y="449240"/>
                  <a:pt x="880929" y="430239"/>
                  <a:pt x="871353" y="414045"/>
                </a:cubicBezTo>
                <a:cubicBezTo>
                  <a:pt x="866590" y="405973"/>
                  <a:pt x="735210" y="292868"/>
                  <a:pt x="705029" y="270833"/>
                </a:cubicBezTo>
                <a:cubicBezTo>
                  <a:pt x="688284" y="258625"/>
                  <a:pt x="651760" y="241228"/>
                  <a:pt x="630327" y="235262"/>
                </a:cubicBezTo>
                <a:cubicBezTo>
                  <a:pt x="623935" y="233482"/>
                  <a:pt x="596310" y="228669"/>
                  <a:pt x="568911" y="224583"/>
                </a:cubicBezTo>
                <a:cubicBezTo>
                  <a:pt x="541512" y="220497"/>
                  <a:pt x="515392" y="216411"/>
                  <a:pt x="510879" y="215509"/>
                </a:cubicBezTo>
                <a:cubicBezTo>
                  <a:pt x="506342" y="214606"/>
                  <a:pt x="485661" y="199164"/>
                  <a:pt x="464930" y="181166"/>
                </a:cubicBezTo>
                <a:lnTo>
                  <a:pt x="427229" y="148452"/>
                </a:lnTo>
                <a:lnTo>
                  <a:pt x="371904" y="198462"/>
                </a:lnTo>
                <a:cubicBezTo>
                  <a:pt x="341472" y="225962"/>
                  <a:pt x="283365" y="278830"/>
                  <a:pt x="242755" y="315930"/>
                </a:cubicBezTo>
                <a:lnTo>
                  <a:pt x="168931" y="383362"/>
                </a:lnTo>
                <a:lnTo>
                  <a:pt x="208864" y="416702"/>
                </a:lnTo>
                <a:cubicBezTo>
                  <a:pt x="247969" y="449365"/>
                  <a:pt x="248997" y="450543"/>
                  <a:pt x="258097" y="473481"/>
                </a:cubicBezTo>
                <a:cubicBezTo>
                  <a:pt x="281084" y="531537"/>
                  <a:pt x="304798" y="563173"/>
                  <a:pt x="367217" y="619124"/>
                </a:cubicBezTo>
                <a:cubicBezTo>
                  <a:pt x="413416" y="660511"/>
                  <a:pt x="415296" y="662641"/>
                  <a:pt x="413216" y="671791"/>
                </a:cubicBezTo>
                <a:cubicBezTo>
                  <a:pt x="410508" y="683723"/>
                  <a:pt x="405620" y="688085"/>
                  <a:pt x="392284" y="690442"/>
                </a:cubicBezTo>
                <a:cubicBezTo>
                  <a:pt x="382483" y="692146"/>
                  <a:pt x="379449" y="690366"/>
                  <a:pt x="349168" y="665048"/>
                </a:cubicBezTo>
                <a:cubicBezTo>
                  <a:pt x="274667" y="602780"/>
                  <a:pt x="239647" y="558260"/>
                  <a:pt x="212148" y="490802"/>
                </a:cubicBezTo>
                <a:cubicBezTo>
                  <a:pt x="205630" y="474859"/>
                  <a:pt x="200742" y="469595"/>
                  <a:pt x="165522" y="440291"/>
                </a:cubicBezTo>
                <a:cubicBezTo>
                  <a:pt x="134763" y="414747"/>
                  <a:pt x="124135" y="407578"/>
                  <a:pt x="116790" y="407527"/>
                </a:cubicBezTo>
                <a:cubicBezTo>
                  <a:pt x="99092" y="407377"/>
                  <a:pt x="82623" y="397300"/>
                  <a:pt x="41085" y="361177"/>
                </a:cubicBezTo>
                <a:cubicBezTo>
                  <a:pt x="-3360" y="322497"/>
                  <a:pt x="-6092" y="318011"/>
                  <a:pt x="6392" y="304048"/>
                </a:cubicBezTo>
                <a:cubicBezTo>
                  <a:pt x="11480" y="298332"/>
                  <a:pt x="16293" y="296327"/>
                  <a:pt x="24917" y="296327"/>
                </a:cubicBezTo>
                <a:cubicBezTo>
                  <a:pt x="35320" y="296327"/>
                  <a:pt x="40810" y="299987"/>
                  <a:pt x="75579" y="329993"/>
                </a:cubicBezTo>
                <a:cubicBezTo>
                  <a:pt x="97037" y="348518"/>
                  <a:pt x="116138" y="363684"/>
                  <a:pt x="118043" y="363684"/>
                </a:cubicBezTo>
                <a:cubicBezTo>
                  <a:pt x="119948" y="363684"/>
                  <a:pt x="159405" y="329090"/>
                  <a:pt x="205730" y="286801"/>
                </a:cubicBezTo>
                <a:cubicBezTo>
                  <a:pt x="252055" y="244537"/>
                  <a:pt x="315000" y="187282"/>
                  <a:pt x="345608" y="159608"/>
                </a:cubicBezTo>
                <a:cubicBezTo>
                  <a:pt x="376216" y="131908"/>
                  <a:pt x="401233" y="107367"/>
                  <a:pt x="401233" y="105085"/>
                </a:cubicBezTo>
                <a:cubicBezTo>
                  <a:pt x="401233" y="102779"/>
                  <a:pt x="383310" y="85232"/>
                  <a:pt x="361401" y="66080"/>
                </a:cubicBezTo>
                <a:cubicBezTo>
                  <a:pt x="317582" y="27777"/>
                  <a:pt x="314173" y="21460"/>
                  <a:pt x="329715" y="7772"/>
                </a:cubicBezTo>
                <a:cubicBezTo>
                  <a:pt x="344505" y="-5288"/>
                  <a:pt x="351374" y="-2505"/>
                  <a:pt x="395568" y="34595"/>
                </a:cubicBezTo>
                <a:cubicBezTo>
                  <a:pt x="439186" y="71194"/>
                  <a:pt x="450993" y="84856"/>
                  <a:pt x="451018" y="98718"/>
                </a:cubicBezTo>
                <a:cubicBezTo>
                  <a:pt x="451043" y="106063"/>
                  <a:pt x="457335" y="113082"/>
                  <a:pt x="488444" y="140431"/>
                </a:cubicBezTo>
                <a:lnTo>
                  <a:pt x="525845" y="173320"/>
                </a:lnTo>
                <a:lnTo>
                  <a:pt x="573925" y="180715"/>
                </a:lnTo>
                <a:cubicBezTo>
                  <a:pt x="682493" y="197385"/>
                  <a:pt x="704176" y="207888"/>
                  <a:pt x="803595" y="291915"/>
                </a:cubicBezTo>
                <a:cubicBezTo>
                  <a:pt x="838840" y="321721"/>
                  <a:pt x="868571" y="346111"/>
                  <a:pt x="869649" y="346111"/>
                </a:cubicBezTo>
                <a:cubicBezTo>
                  <a:pt x="870701" y="346111"/>
                  <a:pt x="899855" y="323576"/>
                  <a:pt x="934399" y="296051"/>
                </a:cubicBezTo>
                <a:cubicBezTo>
                  <a:pt x="1023589" y="224959"/>
                  <a:pt x="1063222" y="202774"/>
                  <a:pt x="1141157" y="180263"/>
                </a:cubicBezTo>
                <a:cubicBezTo>
                  <a:pt x="1175299" y="170387"/>
                  <a:pt x="1175826" y="170111"/>
                  <a:pt x="1214204" y="139202"/>
                </a:cubicBezTo>
                <a:cubicBezTo>
                  <a:pt x="1236214" y="121505"/>
                  <a:pt x="1253285" y="105436"/>
                  <a:pt x="1253811" y="101927"/>
                </a:cubicBezTo>
                <a:cubicBezTo>
                  <a:pt x="1256945" y="81496"/>
                  <a:pt x="1264992" y="71720"/>
                  <a:pt x="1304774" y="40009"/>
                </a:cubicBezTo>
                <a:cubicBezTo>
                  <a:pt x="1347239" y="6193"/>
                  <a:pt x="1355411" y="854"/>
                  <a:pt x="1365062" y="678"/>
                </a:cubicBezTo>
                <a:cubicBezTo>
                  <a:pt x="1374462" y="503"/>
                  <a:pt x="1387322" y="13789"/>
                  <a:pt x="1387322" y="23640"/>
                </a:cubicBezTo>
                <a:cubicBezTo>
                  <a:pt x="1387322" y="31010"/>
                  <a:pt x="1381105" y="37403"/>
                  <a:pt x="1346662" y="65478"/>
                </a:cubicBezTo>
                <a:cubicBezTo>
                  <a:pt x="1324302" y="83703"/>
                  <a:pt x="1305526" y="100147"/>
                  <a:pt x="1304975" y="102052"/>
                </a:cubicBezTo>
                <a:cubicBezTo>
                  <a:pt x="1304423" y="103932"/>
                  <a:pt x="1337613" y="138200"/>
                  <a:pt x="1378774" y="178208"/>
                </a:cubicBezTo>
                <a:cubicBezTo>
                  <a:pt x="1443749" y="241378"/>
                  <a:pt x="1453576" y="252183"/>
                  <a:pt x="1453651" y="260455"/>
                </a:cubicBezTo>
                <a:cubicBezTo>
                  <a:pt x="1453827" y="280910"/>
                  <a:pt x="1428960" y="288581"/>
                  <a:pt x="1410936" y="273641"/>
                </a:cubicBezTo>
                <a:cubicBezTo>
                  <a:pt x="1405596" y="269204"/>
                  <a:pt x="1376994" y="241855"/>
                  <a:pt x="1347389" y="212877"/>
                </a:cubicBezTo>
                <a:cubicBezTo>
                  <a:pt x="1317784" y="183873"/>
                  <a:pt x="1290210" y="157076"/>
                  <a:pt x="1286099" y="153316"/>
                </a:cubicBezTo>
                <a:lnTo>
                  <a:pt x="1278679" y="146447"/>
                </a:lnTo>
                <a:lnTo>
                  <a:pt x="1238144" y="178910"/>
                </a:lnTo>
                <a:cubicBezTo>
                  <a:pt x="1202899" y="207136"/>
                  <a:pt x="1195153" y="211974"/>
                  <a:pt x="1178759" y="215935"/>
                </a:cubicBezTo>
                <a:cubicBezTo>
                  <a:pt x="1127821" y="228268"/>
                  <a:pt x="1076884" y="249099"/>
                  <a:pt x="1041814" y="271961"/>
                </a:cubicBezTo>
                <a:cubicBezTo>
                  <a:pt x="1025520" y="282565"/>
                  <a:pt x="979069" y="318587"/>
                  <a:pt x="925048" y="362456"/>
                </a:cubicBezTo>
                <a:lnTo>
                  <a:pt x="905997" y="377922"/>
                </a:lnTo>
                <a:lnTo>
                  <a:pt x="914244" y="392035"/>
                </a:lnTo>
                <a:cubicBezTo>
                  <a:pt x="925550" y="411363"/>
                  <a:pt x="927806" y="429386"/>
                  <a:pt x="921363" y="448964"/>
                </a:cubicBezTo>
                <a:cubicBezTo>
                  <a:pt x="915372" y="467088"/>
                  <a:pt x="897725" y="487017"/>
                  <a:pt x="882809" y="492457"/>
                </a:cubicBezTo>
                <a:cubicBezTo>
                  <a:pt x="877244" y="494487"/>
                  <a:pt x="872707" y="497169"/>
                  <a:pt x="872707" y="498423"/>
                </a:cubicBezTo>
                <a:cubicBezTo>
                  <a:pt x="872707" y="499676"/>
                  <a:pt x="888374" y="513514"/>
                  <a:pt x="907551" y="529156"/>
                </a:cubicBezTo>
                <a:lnTo>
                  <a:pt x="942370" y="557608"/>
                </a:lnTo>
                <a:lnTo>
                  <a:pt x="962524" y="541163"/>
                </a:lnTo>
                <a:cubicBezTo>
                  <a:pt x="984810" y="522964"/>
                  <a:pt x="995764" y="520457"/>
                  <a:pt x="1008198" y="530685"/>
                </a:cubicBezTo>
                <a:cubicBezTo>
                  <a:pt x="1021283" y="541439"/>
                  <a:pt x="1018050" y="553020"/>
                  <a:pt x="996616" y="572122"/>
                </a:cubicBezTo>
                <a:lnTo>
                  <a:pt x="977741" y="588917"/>
                </a:lnTo>
                <a:lnTo>
                  <a:pt x="994110" y="604534"/>
                </a:lnTo>
                <a:cubicBezTo>
                  <a:pt x="1003134" y="613133"/>
                  <a:pt x="1012133" y="622709"/>
                  <a:pt x="1014164" y="625867"/>
                </a:cubicBezTo>
                <a:cubicBezTo>
                  <a:pt x="1017573" y="631182"/>
                  <a:pt x="1019228" y="630404"/>
                  <a:pt x="1038430" y="614737"/>
                </a:cubicBezTo>
                <a:cubicBezTo>
                  <a:pt x="1060991" y="596312"/>
                  <a:pt x="1069163" y="594357"/>
                  <a:pt x="1083100" y="604008"/>
                </a:cubicBezTo>
                <a:cubicBezTo>
                  <a:pt x="1089417" y="608395"/>
                  <a:pt x="1091849" y="612757"/>
                  <a:pt x="1091849" y="619851"/>
                </a:cubicBezTo>
                <a:cubicBezTo>
                  <a:pt x="1091849" y="628499"/>
                  <a:pt x="1087863" y="632911"/>
                  <a:pt x="1057932" y="657553"/>
                </a:cubicBezTo>
                <a:lnTo>
                  <a:pt x="1024016" y="685428"/>
                </a:lnTo>
                <a:lnTo>
                  <a:pt x="1029631" y="695806"/>
                </a:lnTo>
                <a:cubicBezTo>
                  <a:pt x="1034745" y="705282"/>
                  <a:pt x="1035998" y="705933"/>
                  <a:pt x="1043844" y="703301"/>
                </a:cubicBezTo>
                <a:cubicBezTo>
                  <a:pt x="1054623" y="699692"/>
                  <a:pt x="1085507" y="699541"/>
                  <a:pt x="1096010" y="703076"/>
                </a:cubicBezTo>
                <a:cubicBezTo>
                  <a:pt x="1102979" y="705407"/>
                  <a:pt x="1104709" y="704479"/>
                  <a:pt x="1110249" y="695405"/>
                </a:cubicBezTo>
                <a:cubicBezTo>
                  <a:pt x="1113708" y="689740"/>
                  <a:pt x="1134464" y="670738"/>
                  <a:pt x="1156398" y="653216"/>
                </a:cubicBezTo>
                <a:cubicBezTo>
                  <a:pt x="1189663" y="626619"/>
                  <a:pt x="1197986" y="621355"/>
                  <a:pt x="1206884" y="621355"/>
                </a:cubicBezTo>
                <a:cubicBezTo>
                  <a:pt x="1214430" y="621355"/>
                  <a:pt x="1219519" y="623611"/>
                  <a:pt x="1224407" y="629076"/>
                </a:cubicBezTo>
                <a:cubicBezTo>
                  <a:pt x="1236715" y="642863"/>
                  <a:pt x="1233782" y="649656"/>
                  <a:pt x="1205656" y="672393"/>
                </a:cubicBezTo>
                <a:cubicBezTo>
                  <a:pt x="1147374" y="719470"/>
                  <a:pt x="1151084" y="715660"/>
                  <a:pt x="1149179" y="730475"/>
                </a:cubicBezTo>
                <a:cubicBezTo>
                  <a:pt x="1147574" y="743184"/>
                  <a:pt x="1148301" y="744939"/>
                  <a:pt x="1159156" y="754515"/>
                </a:cubicBezTo>
                <a:cubicBezTo>
                  <a:pt x="1171790" y="765645"/>
                  <a:pt x="1186379" y="767976"/>
                  <a:pt x="1200217" y="761082"/>
                </a:cubicBezTo>
                <a:cubicBezTo>
                  <a:pt x="1217990" y="752183"/>
                  <a:pt x="1371780" y="625491"/>
                  <a:pt x="1385743" y="608244"/>
                </a:cubicBezTo>
                <a:cubicBezTo>
                  <a:pt x="1411262" y="576709"/>
                  <a:pt x="1421891" y="550037"/>
                  <a:pt x="1445404" y="458515"/>
                </a:cubicBezTo>
                <a:cubicBezTo>
                  <a:pt x="1446657" y="453602"/>
                  <a:pt x="1478644" y="425877"/>
                  <a:pt x="1522913" y="391309"/>
                </a:cubicBezTo>
                <a:cubicBezTo>
                  <a:pt x="1526498" y="388526"/>
                  <a:pt x="1522863" y="383488"/>
                  <a:pt x="1503737" y="364787"/>
                </a:cubicBezTo>
                <a:cubicBezTo>
                  <a:pt x="1490727" y="352102"/>
                  <a:pt x="1479220" y="338641"/>
                  <a:pt x="1478117" y="334906"/>
                </a:cubicBezTo>
                <a:cubicBezTo>
                  <a:pt x="1473806" y="320141"/>
                  <a:pt x="1490701" y="305301"/>
                  <a:pt x="1507547" y="309036"/>
                </a:cubicBezTo>
                <a:cubicBezTo>
                  <a:pt x="1511858" y="309989"/>
                  <a:pt x="1528754" y="323977"/>
                  <a:pt x="1545098" y="340145"/>
                </a:cubicBezTo>
                <a:cubicBezTo>
                  <a:pt x="1561443" y="356314"/>
                  <a:pt x="1576658" y="369525"/>
                  <a:pt x="1578915" y="369525"/>
                </a:cubicBezTo>
                <a:cubicBezTo>
                  <a:pt x="1581146" y="369525"/>
                  <a:pt x="1601100" y="355035"/>
                  <a:pt x="1623209" y="337313"/>
                </a:cubicBezTo>
                <a:cubicBezTo>
                  <a:pt x="1657577" y="309813"/>
                  <a:pt x="1665047" y="305100"/>
                  <a:pt x="1674548" y="305100"/>
                </a:cubicBezTo>
                <a:cubicBezTo>
                  <a:pt x="1682595" y="305100"/>
                  <a:pt x="1687558" y="307231"/>
                  <a:pt x="1692547" y="312822"/>
                </a:cubicBezTo>
                <a:cubicBezTo>
                  <a:pt x="1705657" y="327536"/>
                  <a:pt x="1701521" y="334029"/>
                  <a:pt x="1655396" y="371004"/>
                </a:cubicBezTo>
                <a:cubicBezTo>
                  <a:pt x="1610826" y="406700"/>
                  <a:pt x="1604058" y="410686"/>
                  <a:pt x="1583477" y="413042"/>
                </a:cubicBezTo>
                <a:cubicBezTo>
                  <a:pt x="1568787" y="414747"/>
                  <a:pt x="1563774" y="417680"/>
                  <a:pt x="1529556" y="444628"/>
                </a:cubicBezTo>
                <a:lnTo>
                  <a:pt x="1491855" y="474333"/>
                </a:lnTo>
                <a:lnTo>
                  <a:pt x="1479170" y="520959"/>
                </a:lnTo>
                <a:cubicBezTo>
                  <a:pt x="1465057" y="572874"/>
                  <a:pt x="1448237" y="607843"/>
                  <a:pt x="1422918" y="637899"/>
                </a:cubicBezTo>
                <a:cubicBezTo>
                  <a:pt x="1405521" y="658555"/>
                  <a:pt x="1244286" y="789384"/>
                  <a:pt x="1224257" y="799085"/>
                </a:cubicBezTo>
                <a:cubicBezTo>
                  <a:pt x="1207186" y="807357"/>
                  <a:pt x="1184349" y="810315"/>
                  <a:pt x="1166049" y="806630"/>
                </a:cubicBezTo>
                <a:lnTo>
                  <a:pt x="1151611" y="803722"/>
                </a:lnTo>
                <a:lnTo>
                  <a:pt x="1151611" y="900960"/>
                </a:lnTo>
                <a:cubicBezTo>
                  <a:pt x="1151611" y="1001181"/>
                  <a:pt x="1150156" y="1013990"/>
                  <a:pt x="1138199" y="1019656"/>
                </a:cubicBezTo>
                <a:cubicBezTo>
                  <a:pt x="1129501" y="1023742"/>
                  <a:pt x="1117794" y="1023040"/>
                  <a:pt x="1110098" y="1017901"/>
                </a:cubicBezTo>
                <a:cubicBezTo>
                  <a:pt x="1103681" y="1013639"/>
                  <a:pt x="1103405" y="1009153"/>
                  <a:pt x="1101801" y="886296"/>
                </a:cubicBezTo>
                <a:lnTo>
                  <a:pt x="1100146" y="759102"/>
                </a:lnTo>
                <a:lnTo>
                  <a:pt x="1091849" y="751958"/>
                </a:lnTo>
                <a:cubicBezTo>
                  <a:pt x="1078738" y="740652"/>
                  <a:pt x="1058860" y="740652"/>
                  <a:pt x="1047003" y="751958"/>
                </a:cubicBezTo>
                <a:lnTo>
                  <a:pt x="1038981" y="759578"/>
                </a:lnTo>
                <a:lnTo>
                  <a:pt x="1038029" y="851777"/>
                </a:lnTo>
                <a:lnTo>
                  <a:pt x="1037051" y="943976"/>
                </a:lnTo>
                <a:lnTo>
                  <a:pt x="1029230" y="949566"/>
                </a:lnTo>
                <a:cubicBezTo>
                  <a:pt x="1018551" y="957187"/>
                  <a:pt x="1006844" y="956610"/>
                  <a:pt x="997068" y="947987"/>
                </a:cubicBezTo>
                <a:lnTo>
                  <a:pt x="988921" y="940792"/>
                </a:lnTo>
                <a:lnTo>
                  <a:pt x="988921" y="829166"/>
                </a:lnTo>
                <a:lnTo>
                  <a:pt x="988921" y="717540"/>
                </a:lnTo>
                <a:lnTo>
                  <a:pt x="979219" y="708967"/>
                </a:lnTo>
                <a:cubicBezTo>
                  <a:pt x="965809" y="697160"/>
                  <a:pt x="948938" y="697160"/>
                  <a:pt x="935527" y="708967"/>
                </a:cubicBezTo>
                <a:lnTo>
                  <a:pt x="925825" y="717540"/>
                </a:lnTo>
                <a:lnTo>
                  <a:pt x="925825" y="829166"/>
                </a:lnTo>
                <a:lnTo>
                  <a:pt x="925825" y="940792"/>
                </a:lnTo>
                <a:lnTo>
                  <a:pt x="917679" y="947987"/>
                </a:lnTo>
                <a:cubicBezTo>
                  <a:pt x="907300" y="957137"/>
                  <a:pt x="894566" y="957137"/>
                  <a:pt x="884188" y="947987"/>
                </a:cubicBezTo>
                <a:lnTo>
                  <a:pt x="876016" y="940792"/>
                </a:lnTo>
                <a:lnTo>
                  <a:pt x="876016" y="798408"/>
                </a:lnTo>
                <a:lnTo>
                  <a:pt x="876016" y="656048"/>
                </a:lnTo>
                <a:lnTo>
                  <a:pt x="866315" y="647475"/>
                </a:lnTo>
                <a:cubicBezTo>
                  <a:pt x="855861" y="638251"/>
                  <a:pt x="845258" y="636747"/>
                  <a:pt x="831120" y="642412"/>
                </a:cubicBezTo>
                <a:cubicBezTo>
                  <a:pt x="812996" y="649707"/>
                  <a:pt x="812945" y="650258"/>
                  <a:pt x="812945" y="801416"/>
                </a:cubicBezTo>
                <a:lnTo>
                  <a:pt x="812945" y="940792"/>
                </a:lnTo>
                <a:lnTo>
                  <a:pt x="804798" y="947987"/>
                </a:lnTo>
                <a:cubicBezTo>
                  <a:pt x="800311" y="951923"/>
                  <a:pt x="794396" y="955157"/>
                  <a:pt x="791663" y="955157"/>
                </a:cubicBezTo>
                <a:cubicBezTo>
                  <a:pt x="782338" y="955157"/>
                  <a:pt x="770531" y="948689"/>
                  <a:pt x="766821" y="941520"/>
                </a:cubicBezTo>
                <a:cubicBezTo>
                  <a:pt x="764314" y="936682"/>
                  <a:pt x="763136" y="896849"/>
                  <a:pt x="763136" y="817184"/>
                </a:cubicBezTo>
                <a:lnTo>
                  <a:pt x="763136" y="699967"/>
                </a:lnTo>
                <a:lnTo>
                  <a:pt x="753435" y="691394"/>
                </a:lnTo>
                <a:cubicBezTo>
                  <a:pt x="737868" y="677682"/>
                  <a:pt x="714730" y="681342"/>
                  <a:pt x="705204" y="699065"/>
                </a:cubicBezTo>
                <a:cubicBezTo>
                  <a:pt x="700768" y="707312"/>
                  <a:pt x="700066" y="729647"/>
                  <a:pt x="700066" y="862306"/>
                </a:cubicBezTo>
                <a:cubicBezTo>
                  <a:pt x="700066" y="1007323"/>
                  <a:pt x="699715" y="1016397"/>
                  <a:pt x="693924" y="1022689"/>
                </a:cubicBezTo>
                <a:cubicBezTo>
                  <a:pt x="685852" y="1031488"/>
                  <a:pt x="669057" y="1031588"/>
                  <a:pt x="659205" y="1022940"/>
                </a:cubicBezTo>
                <a:cubicBezTo>
                  <a:pt x="652437" y="1016973"/>
                  <a:pt x="651810" y="1013038"/>
                  <a:pt x="650256" y="967239"/>
                </a:cubicBezTo>
                <a:cubicBezTo>
                  <a:pt x="648426" y="913243"/>
                  <a:pt x="647524" y="910686"/>
                  <a:pt x="627570" y="903316"/>
                </a:cubicBezTo>
                <a:cubicBezTo>
                  <a:pt x="613682" y="898203"/>
                  <a:pt x="597037" y="902339"/>
                  <a:pt x="587236" y="913319"/>
                </a:cubicBezTo>
                <a:cubicBezTo>
                  <a:pt x="580793" y="920538"/>
                  <a:pt x="580543" y="924975"/>
                  <a:pt x="580543" y="1028305"/>
                </a:cubicBezTo>
                <a:cubicBezTo>
                  <a:pt x="580543" y="1170589"/>
                  <a:pt x="580718" y="1171215"/>
                  <a:pt x="642435" y="1252109"/>
                </a:cubicBezTo>
                <a:lnTo>
                  <a:pt x="673494" y="1292844"/>
                </a:lnTo>
                <a:lnTo>
                  <a:pt x="673494" y="1340698"/>
                </a:lnTo>
                <a:lnTo>
                  <a:pt x="673494" y="1388527"/>
                </a:lnTo>
                <a:lnTo>
                  <a:pt x="859421" y="1388527"/>
                </a:lnTo>
                <a:lnTo>
                  <a:pt x="1045348" y="1388527"/>
                </a:lnTo>
                <a:lnTo>
                  <a:pt x="1045348" y="1338843"/>
                </a:lnTo>
                <a:lnTo>
                  <a:pt x="1045348" y="1289134"/>
                </a:lnTo>
                <a:lnTo>
                  <a:pt x="1058283" y="1266372"/>
                </a:lnTo>
                <a:cubicBezTo>
                  <a:pt x="1085582" y="1218217"/>
                  <a:pt x="1096361" y="1180741"/>
                  <a:pt x="1100372" y="1119751"/>
                </a:cubicBezTo>
                <a:cubicBezTo>
                  <a:pt x="1102603" y="1086111"/>
                  <a:pt x="1103305" y="1083403"/>
                  <a:pt x="1111026" y="1078038"/>
                </a:cubicBezTo>
                <a:cubicBezTo>
                  <a:pt x="1121930" y="1070468"/>
                  <a:pt x="1129325" y="1070794"/>
                  <a:pt x="1140581" y="1079317"/>
                </a:cubicBezTo>
                <a:lnTo>
                  <a:pt x="1149830" y="1086336"/>
                </a:lnTo>
                <a:lnTo>
                  <a:pt x="1148878" y="1120829"/>
                </a:lnTo>
                <a:cubicBezTo>
                  <a:pt x="1147299" y="1177983"/>
                  <a:pt x="1134865" y="1225713"/>
                  <a:pt x="1108419" y="1276224"/>
                </a:cubicBezTo>
                <a:cubicBezTo>
                  <a:pt x="1096035" y="1299838"/>
                  <a:pt x="1095860" y="1300640"/>
                  <a:pt x="1093453" y="1348895"/>
                </a:cubicBezTo>
                <a:lnTo>
                  <a:pt x="1091022" y="1397702"/>
                </a:lnTo>
                <a:lnTo>
                  <a:pt x="1099520" y="1405573"/>
                </a:lnTo>
                <a:cubicBezTo>
                  <a:pt x="1112179" y="1417255"/>
                  <a:pt x="1115087" y="1427007"/>
                  <a:pt x="1115087" y="1457664"/>
                </a:cubicBezTo>
                <a:cubicBezTo>
                  <a:pt x="1115087" y="1483233"/>
                  <a:pt x="1114435" y="1485991"/>
                  <a:pt x="1106940" y="1492608"/>
                </a:cubicBezTo>
                <a:cubicBezTo>
                  <a:pt x="1097865" y="1500630"/>
                  <a:pt x="1092726" y="1501382"/>
                  <a:pt x="1080543" y="1496469"/>
                </a:cubicBezTo>
                <a:cubicBezTo>
                  <a:pt x="1069313" y="1491956"/>
                  <a:pt x="1067583" y="1487645"/>
                  <a:pt x="1065452" y="1458817"/>
                </a:cubicBezTo>
                <a:lnTo>
                  <a:pt x="1063623" y="1433925"/>
                </a:lnTo>
                <a:lnTo>
                  <a:pt x="859421" y="1433925"/>
                </a:lnTo>
                <a:lnTo>
                  <a:pt x="655244" y="1433925"/>
                </a:lnTo>
                <a:lnTo>
                  <a:pt x="653465" y="1459870"/>
                </a:lnTo>
                <a:cubicBezTo>
                  <a:pt x="651860" y="1483684"/>
                  <a:pt x="650958" y="1486417"/>
                  <a:pt x="642485" y="1492809"/>
                </a:cubicBezTo>
                <a:cubicBezTo>
                  <a:pt x="633210" y="1499853"/>
                  <a:pt x="629500" y="1500680"/>
                  <a:pt x="620375" y="1497722"/>
                </a:cubicBezTo>
                <a:close/>
              </a:path>
            </a:pathLst>
          </a:custGeom>
          <a:solidFill>
            <a:srgbClr val="003F62"/>
          </a:solidFill>
          <a:ln w="3107" cap="flat">
            <a:noFill/>
            <a:prstDash val="solid"/>
            <a:miter/>
          </a:ln>
        </p:spPr>
        <p:txBody>
          <a:bodyPr rtlCol="0" anchor="ctr"/>
          <a:lstStyle/>
          <a:p>
            <a:endParaRPr lang="en-IN">
              <a:solidFill>
                <a:schemeClr val="bg1"/>
              </a:solidFill>
            </a:endParaRPr>
          </a:p>
        </p:txBody>
      </p:sp>
      <p:sp>
        <p:nvSpPr>
          <p:cNvPr id="24" name="Title 1">
            <a:extLst>
              <a:ext uri="{FF2B5EF4-FFF2-40B4-BE49-F238E27FC236}">
                <a16:creationId xmlns:a16="http://schemas.microsoft.com/office/drawing/2014/main" id="{AA2712DC-8DD3-4FDD-B9BE-8EC564652F9C}"/>
              </a:ext>
            </a:extLst>
          </p:cNvPr>
          <p:cNvSpPr txBox="1">
            <a:spLocks/>
          </p:cNvSpPr>
          <p:nvPr/>
        </p:nvSpPr>
        <p:spPr bwMode="auto">
          <a:xfrm>
            <a:off x="420624" y="228600"/>
            <a:ext cx="6469200" cy="46080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lang="en-US" sz="2400" b="0" smtClean="0">
                <a:solidFill>
                  <a:srgbClr val="05405E"/>
                </a:solidFill>
                <a:latin typeface="Poppins Black" panose="00000A00000000000000" pitchFamily="2" charset="0"/>
                <a:ea typeface="+mj-ea"/>
                <a:cs typeface="Poppins Black" panose="00000A00000000000000" pitchFamily="2"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a:lstStyle>
          <a:p>
            <a:r>
              <a:rPr lang="en-IN" sz="2400" b="1" i="0" dirty="0">
                <a:solidFill>
                  <a:srgbClr val="003F62"/>
                </a:solidFill>
                <a:effectLst/>
                <a:latin typeface="+mj-lt"/>
              </a:rPr>
              <a:t>Why Your Employees Are Quitting</a:t>
            </a:r>
            <a:endParaRPr lang="en-IN" kern="0" dirty="0"/>
          </a:p>
        </p:txBody>
      </p:sp>
    </p:spTree>
    <p:extLst>
      <p:ext uri="{BB962C8B-B14F-4D97-AF65-F5344CB8AC3E}">
        <p14:creationId xmlns:p14="http://schemas.microsoft.com/office/powerpoint/2010/main" val="379046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8AB699B-DF2A-4AD8-A461-25FE2EB41E2F}"/>
              </a:ext>
            </a:extLst>
          </p:cNvPr>
          <p:cNvSpPr/>
          <p:nvPr/>
        </p:nvSpPr>
        <p:spPr bwMode="auto">
          <a:xfrm>
            <a:off x="3461630" y="4733595"/>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54" name="Rectangle 53">
            <a:extLst>
              <a:ext uri="{FF2B5EF4-FFF2-40B4-BE49-F238E27FC236}">
                <a16:creationId xmlns:a16="http://schemas.microsoft.com/office/drawing/2014/main" id="{75DA39EF-01BA-44A5-BAA9-5BD51108F0C8}"/>
              </a:ext>
            </a:extLst>
          </p:cNvPr>
          <p:cNvSpPr/>
          <p:nvPr/>
        </p:nvSpPr>
        <p:spPr bwMode="auto">
          <a:xfrm>
            <a:off x="1938976" y="4734412"/>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55" name="Rectangle 54">
            <a:extLst>
              <a:ext uri="{FF2B5EF4-FFF2-40B4-BE49-F238E27FC236}">
                <a16:creationId xmlns:a16="http://schemas.microsoft.com/office/drawing/2014/main" id="{3D0C3118-DCA1-43DA-9622-AD5F945D4686}"/>
              </a:ext>
            </a:extLst>
          </p:cNvPr>
          <p:cNvSpPr/>
          <p:nvPr/>
        </p:nvSpPr>
        <p:spPr bwMode="auto">
          <a:xfrm>
            <a:off x="4984284" y="4734355"/>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95" name="Rectangle 94">
            <a:extLst>
              <a:ext uri="{FF2B5EF4-FFF2-40B4-BE49-F238E27FC236}">
                <a16:creationId xmlns:a16="http://schemas.microsoft.com/office/drawing/2014/main" id="{8FAC6E60-089C-4AB0-BC46-76E01FA3D4BE}"/>
              </a:ext>
            </a:extLst>
          </p:cNvPr>
          <p:cNvSpPr/>
          <p:nvPr/>
        </p:nvSpPr>
        <p:spPr bwMode="auto">
          <a:xfrm>
            <a:off x="6506938" y="4734355"/>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96" name="Rectangle 95">
            <a:extLst>
              <a:ext uri="{FF2B5EF4-FFF2-40B4-BE49-F238E27FC236}">
                <a16:creationId xmlns:a16="http://schemas.microsoft.com/office/drawing/2014/main" id="{7A5CA8B7-4173-4FA9-A4C3-4499D25FB3A7}"/>
              </a:ext>
            </a:extLst>
          </p:cNvPr>
          <p:cNvSpPr/>
          <p:nvPr/>
        </p:nvSpPr>
        <p:spPr bwMode="auto">
          <a:xfrm>
            <a:off x="8029594" y="4734062"/>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5" name="Rectangle 4">
            <a:extLst>
              <a:ext uri="{FF2B5EF4-FFF2-40B4-BE49-F238E27FC236}">
                <a16:creationId xmlns:a16="http://schemas.microsoft.com/office/drawing/2014/main" id="{0358B9FD-1EDC-45D4-A694-6BED46C61072}"/>
              </a:ext>
            </a:extLst>
          </p:cNvPr>
          <p:cNvSpPr/>
          <p:nvPr/>
        </p:nvSpPr>
        <p:spPr bwMode="auto">
          <a:xfrm>
            <a:off x="416322" y="4734121"/>
            <a:ext cx="1463040" cy="1554480"/>
          </a:xfrm>
          <a:prstGeom prst="rect">
            <a:avLst/>
          </a:prstGeom>
          <a:solidFill>
            <a:srgbClr val="F2F2F2"/>
          </a:solidFill>
          <a:ln w="12700">
            <a:noFill/>
            <a:round/>
            <a:headEnd/>
            <a:tailEnd/>
          </a:ln>
        </p:spPr>
        <p:txBody>
          <a:bodyPr wrap="square" lIns="0" tIns="0" rIns="0" bIns="0" rtlCol="0" anchor="ctr">
            <a:noAutofit/>
          </a:bodyPr>
          <a:lstStyle/>
          <a:p>
            <a:pPr algn="l"/>
            <a:endParaRPr lang="en-IN" dirty="0">
              <a:solidFill>
                <a:schemeClr val="tx2"/>
              </a:solidFill>
            </a:endParaRPr>
          </a:p>
        </p:txBody>
      </p:sp>
      <p:sp>
        <p:nvSpPr>
          <p:cNvPr id="109" name="Oval 108">
            <a:extLst>
              <a:ext uri="{FF2B5EF4-FFF2-40B4-BE49-F238E27FC236}">
                <a16:creationId xmlns:a16="http://schemas.microsoft.com/office/drawing/2014/main" id="{A5CE6334-042E-4891-AA7B-F0EBD56DA5A9}"/>
              </a:ext>
            </a:extLst>
          </p:cNvPr>
          <p:cNvSpPr/>
          <p:nvPr/>
        </p:nvSpPr>
        <p:spPr>
          <a:xfrm>
            <a:off x="4269218" y="3194871"/>
            <a:ext cx="170264" cy="167016"/>
          </a:xfrm>
          <a:prstGeom prst="ellipse">
            <a:avLst/>
          </a:pr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110" name="Teardrop 109">
            <a:extLst>
              <a:ext uri="{FF2B5EF4-FFF2-40B4-BE49-F238E27FC236}">
                <a16:creationId xmlns:a16="http://schemas.microsoft.com/office/drawing/2014/main" id="{0D1E3E3A-CFB4-4ED7-9EE0-1D1EB7382B12}"/>
              </a:ext>
            </a:extLst>
          </p:cNvPr>
          <p:cNvSpPr/>
          <p:nvPr/>
        </p:nvSpPr>
        <p:spPr>
          <a:xfrm rot="8100000">
            <a:off x="3988263" y="1636841"/>
            <a:ext cx="732173" cy="718204"/>
          </a:xfrm>
          <a:prstGeom prst="teardrop">
            <a:avLst/>
          </a:pr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111" name="Straight Connector 110">
            <a:extLst>
              <a:ext uri="{FF2B5EF4-FFF2-40B4-BE49-F238E27FC236}">
                <a16:creationId xmlns:a16="http://schemas.microsoft.com/office/drawing/2014/main" id="{B936F30D-FB17-47E2-8BEA-3811CBAE67C5}"/>
              </a:ext>
            </a:extLst>
          </p:cNvPr>
          <p:cNvCxnSpPr>
            <a:cxnSpLocks/>
            <a:stCxn id="110" idx="7"/>
            <a:endCxn id="109" idx="0"/>
          </p:cNvCxnSpPr>
          <p:nvPr/>
        </p:nvCxnSpPr>
        <p:spPr>
          <a:xfrm>
            <a:off x="4349411" y="2508729"/>
            <a:ext cx="4939" cy="68614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6" name="Freeform: Shape 105">
            <a:extLst>
              <a:ext uri="{FF2B5EF4-FFF2-40B4-BE49-F238E27FC236}">
                <a16:creationId xmlns:a16="http://schemas.microsoft.com/office/drawing/2014/main" id="{C45D5BEE-B98D-4243-B499-A88575BC1285}"/>
              </a:ext>
            </a:extLst>
          </p:cNvPr>
          <p:cNvSpPr/>
          <p:nvPr/>
        </p:nvSpPr>
        <p:spPr>
          <a:xfrm>
            <a:off x="4171469" y="1813063"/>
            <a:ext cx="365760" cy="365760"/>
          </a:xfrm>
          <a:custGeom>
            <a:avLst/>
            <a:gdLst>
              <a:gd name="connsiteX0" fmla="*/ 13846 w 2070435"/>
              <a:gd name="connsiteY0" fmla="*/ 1932984 h 1945699"/>
              <a:gd name="connsiteX1" fmla="*/ 83 w 2070435"/>
              <a:gd name="connsiteY1" fmla="*/ 1920059 h 1945699"/>
              <a:gd name="connsiteX2" fmla="*/ 83 w 2070435"/>
              <a:gd name="connsiteY2" fmla="*/ 1823379 h 1945699"/>
              <a:gd name="connsiteX3" fmla="*/ 22527 w 2070435"/>
              <a:gd name="connsiteY3" fmla="*/ 1654518 h 1945699"/>
              <a:gd name="connsiteX4" fmla="*/ 151707 w 2070435"/>
              <a:gd name="connsiteY4" fmla="*/ 1549244 h 1945699"/>
              <a:gd name="connsiteX5" fmla="*/ 471649 w 2070435"/>
              <a:gd name="connsiteY5" fmla="*/ 1540823 h 1945699"/>
              <a:gd name="connsiteX6" fmla="*/ 835950 w 2070435"/>
              <a:gd name="connsiteY6" fmla="*/ 1564907 h 1945699"/>
              <a:gd name="connsiteX7" fmla="*/ 941813 w 2070435"/>
              <a:gd name="connsiteY7" fmla="*/ 1689170 h 1945699"/>
              <a:gd name="connsiteX8" fmla="*/ 949256 w 2070435"/>
              <a:gd name="connsiteY8" fmla="*/ 1815339 h 1945699"/>
              <a:gd name="connsiteX9" fmla="*/ 940780 w 2070435"/>
              <a:gd name="connsiteY9" fmla="*/ 1929450 h 1945699"/>
              <a:gd name="connsiteX10" fmla="*/ 872792 w 2070435"/>
              <a:gd name="connsiteY10" fmla="*/ 1929450 h 1945699"/>
              <a:gd name="connsiteX11" fmla="*/ 862258 w 2070435"/>
              <a:gd name="connsiteY11" fmla="*/ 1813469 h 1945699"/>
              <a:gd name="connsiteX12" fmla="*/ 850954 w 2070435"/>
              <a:gd name="connsiteY12" fmla="*/ 1691838 h 1945699"/>
              <a:gd name="connsiteX13" fmla="*/ 792652 w 2070435"/>
              <a:gd name="connsiteY13" fmla="*/ 1635667 h 1945699"/>
              <a:gd name="connsiteX14" fmla="*/ 771184 w 2070435"/>
              <a:gd name="connsiteY14" fmla="*/ 1624509 h 1945699"/>
              <a:gd name="connsiteX15" fmla="*/ 480482 w 2070435"/>
              <a:gd name="connsiteY15" fmla="*/ 1623434 h 1945699"/>
              <a:gd name="connsiteX16" fmla="*/ 189779 w 2070435"/>
              <a:gd name="connsiteY16" fmla="*/ 1622395 h 1945699"/>
              <a:gd name="connsiteX17" fmla="*/ 165831 w 2070435"/>
              <a:gd name="connsiteY17" fmla="*/ 1632514 h 1945699"/>
              <a:gd name="connsiteX18" fmla="*/ 95932 w 2070435"/>
              <a:gd name="connsiteY18" fmla="*/ 1697833 h 1945699"/>
              <a:gd name="connsiteX19" fmla="*/ 86028 w 2070435"/>
              <a:gd name="connsiteY19" fmla="*/ 1814681 h 1945699"/>
              <a:gd name="connsiteX20" fmla="*/ 82883 w 2070435"/>
              <a:gd name="connsiteY20" fmla="*/ 1922277 h 1945699"/>
              <a:gd name="connsiteX21" fmla="*/ 41168 w 2070435"/>
              <a:gd name="connsiteY21" fmla="*/ 1945910 h 1945699"/>
              <a:gd name="connsiteX22" fmla="*/ 13846 w 2070435"/>
              <a:gd name="connsiteY22" fmla="*/ 1932984 h 1945699"/>
              <a:gd name="connsiteX23" fmla="*/ 1055542 w 2070435"/>
              <a:gd name="connsiteY23" fmla="*/ 1454920 h 1945699"/>
              <a:gd name="connsiteX24" fmla="*/ 1036314 w 2070435"/>
              <a:gd name="connsiteY24" fmla="*/ 1282628 h 1945699"/>
              <a:gd name="connsiteX25" fmla="*/ 1036314 w 2070435"/>
              <a:gd name="connsiteY25" fmla="*/ 1136325 h 1945699"/>
              <a:gd name="connsiteX26" fmla="*/ 985998 w 2070435"/>
              <a:gd name="connsiteY26" fmla="*/ 1135043 h 1945699"/>
              <a:gd name="connsiteX27" fmla="*/ 924303 w 2070435"/>
              <a:gd name="connsiteY27" fmla="*/ 1125791 h 1945699"/>
              <a:gd name="connsiteX28" fmla="*/ 924317 w 2070435"/>
              <a:gd name="connsiteY28" fmla="*/ 1061892 h 1945699"/>
              <a:gd name="connsiteX29" fmla="*/ 1013734 w 2070435"/>
              <a:gd name="connsiteY29" fmla="*/ 1053922 h 1945699"/>
              <a:gd name="connsiteX30" fmla="*/ 1116042 w 2070435"/>
              <a:gd name="connsiteY30" fmla="*/ 1070624 h 1945699"/>
              <a:gd name="connsiteX31" fmla="*/ 1121316 w 2070435"/>
              <a:gd name="connsiteY31" fmla="*/ 1186779 h 1945699"/>
              <a:gd name="connsiteX32" fmla="*/ 1123340 w 2070435"/>
              <a:gd name="connsiteY32" fmla="*/ 1296835 h 1945699"/>
              <a:gd name="connsiteX33" fmla="*/ 1216382 w 2070435"/>
              <a:gd name="connsiteY33" fmla="*/ 1180126 h 1945699"/>
              <a:gd name="connsiteX34" fmla="*/ 1322238 w 2070435"/>
              <a:gd name="connsiteY34" fmla="*/ 1057734 h 1945699"/>
              <a:gd name="connsiteX35" fmla="*/ 1648390 w 2070435"/>
              <a:gd name="connsiteY35" fmla="*/ 1052016 h 1945699"/>
              <a:gd name="connsiteX36" fmla="*/ 1970834 w 2070435"/>
              <a:gd name="connsiteY36" fmla="*/ 1044046 h 1945699"/>
              <a:gd name="connsiteX37" fmla="*/ 1983742 w 2070435"/>
              <a:gd name="connsiteY37" fmla="*/ 1026650 h 1945699"/>
              <a:gd name="connsiteX38" fmla="*/ 1987540 w 2070435"/>
              <a:gd name="connsiteY38" fmla="*/ 566639 h 1945699"/>
              <a:gd name="connsiteX39" fmla="*/ 1981615 w 2070435"/>
              <a:gd name="connsiteY39" fmla="*/ 102678 h 1945699"/>
              <a:gd name="connsiteX40" fmla="*/ 1244492 w 2070435"/>
              <a:gd name="connsiteY40" fmla="*/ 79114 h 1945699"/>
              <a:gd name="connsiteX41" fmla="*/ 541820 w 2070435"/>
              <a:gd name="connsiteY41" fmla="*/ 80085 h 1945699"/>
              <a:gd name="connsiteX42" fmla="*/ 530010 w 2070435"/>
              <a:gd name="connsiteY42" fmla="*/ 92525 h 1945699"/>
              <a:gd name="connsiteX43" fmla="*/ 518197 w 2070435"/>
              <a:gd name="connsiteY43" fmla="*/ 104930 h 1945699"/>
              <a:gd name="connsiteX44" fmla="*/ 518197 w 2070435"/>
              <a:gd name="connsiteY44" fmla="*/ 403877 h 1945699"/>
              <a:gd name="connsiteX45" fmla="*/ 518197 w 2070435"/>
              <a:gd name="connsiteY45" fmla="*/ 702789 h 1945699"/>
              <a:gd name="connsiteX46" fmla="*/ 504437 w 2070435"/>
              <a:gd name="connsiteY46" fmla="*/ 715749 h 1945699"/>
              <a:gd name="connsiteX47" fmla="*/ 477113 w 2070435"/>
              <a:gd name="connsiteY47" fmla="*/ 728674 h 1945699"/>
              <a:gd name="connsiteX48" fmla="*/ 435201 w 2070435"/>
              <a:gd name="connsiteY48" fmla="*/ 705006 h 1945699"/>
              <a:gd name="connsiteX49" fmla="*/ 434082 w 2070435"/>
              <a:gd name="connsiteY49" fmla="*/ 392026 h 1945699"/>
              <a:gd name="connsiteX50" fmla="*/ 435219 w 2070435"/>
              <a:gd name="connsiteY50" fmla="*/ 87708 h 1945699"/>
              <a:gd name="connsiteX51" fmla="*/ 444578 w 2070435"/>
              <a:gd name="connsiteY51" fmla="*/ 69862 h 1945699"/>
              <a:gd name="connsiteX52" fmla="*/ 510103 w 2070435"/>
              <a:gd name="connsiteY52" fmla="*/ 10087 h 1945699"/>
              <a:gd name="connsiteX53" fmla="*/ 532367 w 2070435"/>
              <a:gd name="connsiteY53" fmla="*/ 210 h 1945699"/>
              <a:gd name="connsiteX54" fmla="*/ 1252870 w 2070435"/>
              <a:gd name="connsiteY54" fmla="*/ 210 h 1945699"/>
              <a:gd name="connsiteX55" fmla="*/ 1973374 w 2070435"/>
              <a:gd name="connsiteY55" fmla="*/ 210 h 1945699"/>
              <a:gd name="connsiteX56" fmla="*/ 1996210 w 2070435"/>
              <a:gd name="connsiteY56" fmla="*/ 10745 h 1945699"/>
              <a:gd name="connsiteX57" fmla="*/ 2061772 w 2070435"/>
              <a:gd name="connsiteY57" fmla="*/ 73743 h 1945699"/>
              <a:gd name="connsiteX58" fmla="*/ 2070519 w 2070435"/>
              <a:gd name="connsiteY58" fmla="*/ 91520 h 1945699"/>
              <a:gd name="connsiteX59" fmla="*/ 2070519 w 2070435"/>
              <a:gd name="connsiteY59" fmla="*/ 567021 h 1945699"/>
              <a:gd name="connsiteX60" fmla="*/ 2070519 w 2070435"/>
              <a:gd name="connsiteY60" fmla="*/ 1042486 h 1945699"/>
              <a:gd name="connsiteX61" fmla="*/ 2061183 w 2070435"/>
              <a:gd name="connsiteY61" fmla="*/ 1060125 h 1945699"/>
              <a:gd name="connsiteX62" fmla="*/ 1996570 w 2070435"/>
              <a:gd name="connsiteY62" fmla="*/ 1121251 h 1945699"/>
              <a:gd name="connsiteX63" fmla="*/ 1969507 w 2070435"/>
              <a:gd name="connsiteY63" fmla="*/ 1133795 h 1945699"/>
              <a:gd name="connsiteX64" fmla="*/ 1661260 w 2070435"/>
              <a:gd name="connsiteY64" fmla="*/ 1135702 h 1945699"/>
              <a:gd name="connsiteX65" fmla="*/ 1353013 w 2070435"/>
              <a:gd name="connsiteY65" fmla="*/ 1137607 h 1945699"/>
              <a:gd name="connsiteX66" fmla="*/ 1232547 w 2070435"/>
              <a:gd name="connsiteY66" fmla="*/ 1285954 h 1945699"/>
              <a:gd name="connsiteX67" fmla="*/ 1105664 w 2070435"/>
              <a:gd name="connsiteY67" fmla="*/ 1443796 h 1945699"/>
              <a:gd name="connsiteX68" fmla="*/ 1095101 w 2070435"/>
              <a:gd name="connsiteY68" fmla="*/ 1456132 h 1945699"/>
              <a:gd name="connsiteX69" fmla="*/ 1055539 w 2070435"/>
              <a:gd name="connsiteY69" fmla="*/ 1454920 h 1945699"/>
              <a:gd name="connsiteX70" fmla="*/ 406326 w 2070435"/>
              <a:gd name="connsiteY70" fmla="*/ 1409629 h 1945699"/>
              <a:gd name="connsiteX71" fmla="*/ 218892 w 2070435"/>
              <a:gd name="connsiteY71" fmla="*/ 1141592 h 1945699"/>
              <a:gd name="connsiteX72" fmla="*/ 439464 w 2070435"/>
              <a:gd name="connsiteY72" fmla="*/ 934302 h 1945699"/>
              <a:gd name="connsiteX73" fmla="*/ 721195 w 2070435"/>
              <a:gd name="connsiteY73" fmla="*/ 1097653 h 1945699"/>
              <a:gd name="connsiteX74" fmla="*/ 726895 w 2070435"/>
              <a:gd name="connsiteY74" fmla="*/ 1232694 h 1945699"/>
              <a:gd name="connsiteX75" fmla="*/ 538438 w 2070435"/>
              <a:gd name="connsiteY75" fmla="*/ 1411257 h 1945699"/>
              <a:gd name="connsiteX76" fmla="*/ 406326 w 2070435"/>
              <a:gd name="connsiteY76" fmla="*/ 1409629 h 1945699"/>
              <a:gd name="connsiteX77" fmla="*/ 516780 w 2070435"/>
              <a:gd name="connsiteY77" fmla="*/ 1332007 h 1945699"/>
              <a:gd name="connsiteX78" fmla="*/ 646550 w 2070435"/>
              <a:gd name="connsiteY78" fmla="*/ 1162592 h 1945699"/>
              <a:gd name="connsiteX79" fmla="*/ 569611 w 2070435"/>
              <a:gd name="connsiteY79" fmla="*/ 1040165 h 1945699"/>
              <a:gd name="connsiteX80" fmla="*/ 465325 w 2070435"/>
              <a:gd name="connsiteY80" fmla="*/ 1014695 h 1945699"/>
              <a:gd name="connsiteX81" fmla="*/ 399797 w 2070435"/>
              <a:gd name="connsiteY81" fmla="*/ 1030254 h 1945699"/>
              <a:gd name="connsiteX82" fmla="*/ 318582 w 2070435"/>
              <a:gd name="connsiteY82" fmla="*/ 1108222 h 1945699"/>
              <a:gd name="connsiteX83" fmla="*/ 305691 w 2070435"/>
              <a:gd name="connsiteY83" fmla="*/ 1175725 h 1945699"/>
              <a:gd name="connsiteX84" fmla="*/ 319532 w 2070435"/>
              <a:gd name="connsiteY84" fmla="*/ 1244060 h 1945699"/>
              <a:gd name="connsiteX85" fmla="*/ 516780 w 2070435"/>
              <a:gd name="connsiteY85" fmla="*/ 1332007 h 1945699"/>
              <a:gd name="connsiteX86" fmla="*/ 1242749 w 2070435"/>
              <a:gd name="connsiteY86" fmla="*/ 889842 h 1945699"/>
              <a:gd name="connsiteX87" fmla="*/ 1210615 w 2070435"/>
              <a:gd name="connsiteY87" fmla="*/ 838973 h 1945699"/>
              <a:gd name="connsiteX88" fmla="*/ 1208346 w 2070435"/>
              <a:gd name="connsiteY88" fmla="*/ 810454 h 1945699"/>
              <a:gd name="connsiteX89" fmla="*/ 1154347 w 2070435"/>
              <a:gd name="connsiteY89" fmla="*/ 808548 h 1945699"/>
              <a:gd name="connsiteX90" fmla="*/ 1090593 w 2070435"/>
              <a:gd name="connsiteY90" fmla="*/ 795969 h 1945699"/>
              <a:gd name="connsiteX91" fmla="*/ 1085007 w 2070435"/>
              <a:gd name="connsiteY91" fmla="*/ 747490 h 1945699"/>
              <a:gd name="connsiteX92" fmla="*/ 1202202 w 2070435"/>
              <a:gd name="connsiteY92" fmla="*/ 728674 h 1945699"/>
              <a:gd name="connsiteX93" fmla="*/ 1330579 w 2070435"/>
              <a:gd name="connsiteY93" fmla="*/ 704660 h 1945699"/>
              <a:gd name="connsiteX94" fmla="*/ 1306239 w 2070435"/>
              <a:gd name="connsiteY94" fmla="*/ 603371 h 1945699"/>
              <a:gd name="connsiteX95" fmla="*/ 1257504 w 2070435"/>
              <a:gd name="connsiteY95" fmla="*/ 599351 h 1945699"/>
              <a:gd name="connsiteX96" fmla="*/ 1196079 w 2070435"/>
              <a:gd name="connsiteY96" fmla="*/ 593426 h 1945699"/>
              <a:gd name="connsiteX97" fmla="*/ 1093528 w 2070435"/>
              <a:gd name="connsiteY97" fmla="*/ 512304 h 1945699"/>
              <a:gd name="connsiteX98" fmla="*/ 1082866 w 2070435"/>
              <a:gd name="connsiteY98" fmla="*/ 452875 h 1945699"/>
              <a:gd name="connsiteX99" fmla="*/ 1093650 w 2070435"/>
              <a:gd name="connsiteY99" fmla="*/ 395630 h 1945699"/>
              <a:gd name="connsiteX100" fmla="*/ 1186178 w 2070435"/>
              <a:gd name="connsiteY100" fmla="*/ 328023 h 1945699"/>
              <a:gd name="connsiteX101" fmla="*/ 1208346 w 2070435"/>
              <a:gd name="connsiteY101" fmla="*/ 322721 h 1945699"/>
              <a:gd name="connsiteX102" fmla="*/ 1209378 w 2070435"/>
              <a:gd name="connsiteY102" fmla="*/ 298395 h 1945699"/>
              <a:gd name="connsiteX103" fmla="*/ 1227682 w 2070435"/>
              <a:gd name="connsiteY103" fmla="*/ 249258 h 1945699"/>
              <a:gd name="connsiteX104" fmla="*/ 1281608 w 2070435"/>
              <a:gd name="connsiteY104" fmla="*/ 254698 h 1945699"/>
              <a:gd name="connsiteX105" fmla="*/ 1295372 w 2070435"/>
              <a:gd name="connsiteY105" fmla="*/ 294341 h 1945699"/>
              <a:gd name="connsiteX106" fmla="*/ 1295372 w 2070435"/>
              <a:gd name="connsiteY106" fmla="*/ 321023 h 1945699"/>
              <a:gd name="connsiteX107" fmla="*/ 1345687 w 2070435"/>
              <a:gd name="connsiteY107" fmla="*/ 322305 h 1945699"/>
              <a:gd name="connsiteX108" fmla="*/ 1407382 w 2070435"/>
              <a:gd name="connsiteY108" fmla="*/ 331557 h 1945699"/>
              <a:gd name="connsiteX109" fmla="*/ 1407382 w 2070435"/>
              <a:gd name="connsiteY109" fmla="*/ 395421 h 1945699"/>
              <a:gd name="connsiteX110" fmla="*/ 1297395 w 2070435"/>
              <a:gd name="connsiteY110" fmla="*/ 405332 h 1945699"/>
              <a:gd name="connsiteX111" fmla="*/ 1187627 w 2070435"/>
              <a:gd name="connsiteY111" fmla="*/ 415069 h 1945699"/>
              <a:gd name="connsiteX112" fmla="*/ 1159770 w 2070435"/>
              <a:gd name="connsiteY112" fmla="*/ 469994 h 1945699"/>
              <a:gd name="connsiteX113" fmla="*/ 1187322 w 2070435"/>
              <a:gd name="connsiteY113" fmla="*/ 524710 h 1945699"/>
              <a:gd name="connsiteX114" fmla="*/ 1254381 w 2070435"/>
              <a:gd name="connsiteY114" fmla="*/ 534655 h 1945699"/>
              <a:gd name="connsiteX115" fmla="*/ 1337069 w 2070435"/>
              <a:gd name="connsiteY115" fmla="*/ 549244 h 1945699"/>
              <a:gd name="connsiteX116" fmla="*/ 1422550 w 2070435"/>
              <a:gd name="connsiteY116" fmla="*/ 679294 h 1945699"/>
              <a:gd name="connsiteX117" fmla="*/ 1409520 w 2070435"/>
              <a:gd name="connsiteY117" fmla="*/ 737199 h 1945699"/>
              <a:gd name="connsiteX118" fmla="*/ 1310549 w 2070435"/>
              <a:gd name="connsiteY118" fmla="*/ 806780 h 1945699"/>
              <a:gd name="connsiteX119" fmla="*/ 1295372 w 2070435"/>
              <a:gd name="connsiteY119" fmla="*/ 809414 h 1945699"/>
              <a:gd name="connsiteX120" fmla="*/ 1295372 w 2070435"/>
              <a:gd name="connsiteY120" fmla="*/ 833463 h 1945699"/>
              <a:gd name="connsiteX121" fmla="*/ 1278350 w 2070435"/>
              <a:gd name="connsiteY121" fmla="*/ 882288 h 1945699"/>
              <a:gd name="connsiteX122" fmla="*/ 1242752 w 2070435"/>
              <a:gd name="connsiteY122" fmla="*/ 889842 h 194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2070435" h="1945699">
                <a:moveTo>
                  <a:pt x="13846" y="1932984"/>
                </a:moveTo>
                <a:lnTo>
                  <a:pt x="83" y="1920059"/>
                </a:lnTo>
                <a:lnTo>
                  <a:pt x="83" y="1823379"/>
                </a:lnTo>
                <a:cubicBezTo>
                  <a:pt x="83" y="1714640"/>
                  <a:pt x="2950" y="1693051"/>
                  <a:pt x="22527" y="1654518"/>
                </a:cubicBezTo>
                <a:cubicBezTo>
                  <a:pt x="48039" y="1604306"/>
                  <a:pt x="95048" y="1565980"/>
                  <a:pt x="151707" y="1549244"/>
                </a:cubicBezTo>
                <a:cubicBezTo>
                  <a:pt x="180031" y="1540858"/>
                  <a:pt x="182037" y="1540823"/>
                  <a:pt x="471649" y="1540823"/>
                </a:cubicBezTo>
                <a:cubicBezTo>
                  <a:pt x="792943" y="1540823"/>
                  <a:pt x="784858" y="1540269"/>
                  <a:pt x="835950" y="1564907"/>
                </a:cubicBezTo>
                <a:cubicBezTo>
                  <a:pt x="886036" y="1589059"/>
                  <a:pt x="923638" y="1633206"/>
                  <a:pt x="941813" y="1689170"/>
                </a:cubicBezTo>
                <a:cubicBezTo>
                  <a:pt x="948220" y="1708887"/>
                  <a:pt x="949232" y="1726040"/>
                  <a:pt x="949256" y="1815339"/>
                </a:cubicBezTo>
                <a:cubicBezTo>
                  <a:pt x="949284" y="1914480"/>
                  <a:pt x="948937" y="1919158"/>
                  <a:pt x="940780" y="1929450"/>
                </a:cubicBezTo>
                <a:cubicBezTo>
                  <a:pt x="924185" y="1950346"/>
                  <a:pt x="889415" y="1950380"/>
                  <a:pt x="872792" y="1929450"/>
                </a:cubicBezTo>
                <a:cubicBezTo>
                  <a:pt x="864753" y="1919366"/>
                  <a:pt x="864171" y="1912955"/>
                  <a:pt x="862258" y="1813469"/>
                </a:cubicBezTo>
                <a:cubicBezTo>
                  <a:pt x="860324" y="1712873"/>
                  <a:pt x="859822" y="1707467"/>
                  <a:pt x="850954" y="1691838"/>
                </a:cubicBezTo>
                <a:cubicBezTo>
                  <a:pt x="837395" y="1667997"/>
                  <a:pt x="817033" y="1648350"/>
                  <a:pt x="792652" y="1635667"/>
                </a:cubicBezTo>
                <a:lnTo>
                  <a:pt x="771184" y="1624509"/>
                </a:lnTo>
                <a:lnTo>
                  <a:pt x="480482" y="1623434"/>
                </a:lnTo>
                <a:lnTo>
                  <a:pt x="189779" y="1622395"/>
                </a:lnTo>
                <a:lnTo>
                  <a:pt x="165831" y="1632514"/>
                </a:lnTo>
                <a:cubicBezTo>
                  <a:pt x="137872" y="1644295"/>
                  <a:pt x="108982" y="1671289"/>
                  <a:pt x="95932" y="1697833"/>
                </a:cubicBezTo>
                <a:cubicBezTo>
                  <a:pt x="87691" y="1714605"/>
                  <a:pt x="87039" y="1722298"/>
                  <a:pt x="86028" y="1814681"/>
                </a:cubicBezTo>
                <a:cubicBezTo>
                  <a:pt x="85432" y="1869086"/>
                  <a:pt x="84017" y="1917495"/>
                  <a:pt x="82883" y="1922277"/>
                </a:cubicBezTo>
                <a:cubicBezTo>
                  <a:pt x="80206" y="1933539"/>
                  <a:pt x="58405" y="1945910"/>
                  <a:pt x="41168" y="1945910"/>
                </a:cubicBezTo>
                <a:cubicBezTo>
                  <a:pt x="31132" y="1945910"/>
                  <a:pt x="24032" y="1942583"/>
                  <a:pt x="13846" y="1932984"/>
                </a:cubicBezTo>
                <a:close/>
                <a:moveTo>
                  <a:pt x="1055542" y="1454920"/>
                </a:moveTo>
                <a:cubicBezTo>
                  <a:pt x="1037142" y="1444836"/>
                  <a:pt x="1036314" y="1437420"/>
                  <a:pt x="1036314" y="1282628"/>
                </a:cubicBezTo>
                <a:lnTo>
                  <a:pt x="1036314" y="1136325"/>
                </a:lnTo>
                <a:lnTo>
                  <a:pt x="985998" y="1135043"/>
                </a:lnTo>
                <a:cubicBezTo>
                  <a:pt x="942440" y="1133969"/>
                  <a:pt x="934151" y="1132721"/>
                  <a:pt x="924303" y="1125791"/>
                </a:cubicBezTo>
                <a:cubicBezTo>
                  <a:pt x="902070" y="1110163"/>
                  <a:pt x="902080" y="1077520"/>
                  <a:pt x="924317" y="1061892"/>
                </a:cubicBezTo>
                <a:cubicBezTo>
                  <a:pt x="934976" y="1054407"/>
                  <a:pt x="940766" y="1053922"/>
                  <a:pt x="1013734" y="1053922"/>
                </a:cubicBezTo>
                <a:cubicBezTo>
                  <a:pt x="1094395" y="1053922"/>
                  <a:pt x="1108387" y="1056174"/>
                  <a:pt x="1116042" y="1070624"/>
                </a:cubicBezTo>
                <a:cubicBezTo>
                  <a:pt x="1117830" y="1073985"/>
                  <a:pt x="1120204" y="1126242"/>
                  <a:pt x="1121316" y="1186779"/>
                </a:cubicBezTo>
                <a:lnTo>
                  <a:pt x="1123340" y="1296835"/>
                </a:lnTo>
                <a:lnTo>
                  <a:pt x="1216382" y="1180126"/>
                </a:lnTo>
                <a:cubicBezTo>
                  <a:pt x="1282627" y="1097029"/>
                  <a:pt x="1313114" y="1061788"/>
                  <a:pt x="1322238" y="1057734"/>
                </a:cubicBezTo>
                <a:cubicBezTo>
                  <a:pt x="1333292" y="1052778"/>
                  <a:pt x="1378059" y="1052016"/>
                  <a:pt x="1648390" y="1052016"/>
                </a:cubicBezTo>
                <a:cubicBezTo>
                  <a:pt x="1960917" y="1052016"/>
                  <a:pt x="1961752" y="1051981"/>
                  <a:pt x="1970834" y="1044046"/>
                </a:cubicBezTo>
                <a:cubicBezTo>
                  <a:pt x="1975845" y="1039645"/>
                  <a:pt x="1981653" y="1031848"/>
                  <a:pt x="1983742" y="1026650"/>
                </a:cubicBezTo>
                <a:cubicBezTo>
                  <a:pt x="1986033" y="1021002"/>
                  <a:pt x="1987540" y="838245"/>
                  <a:pt x="1987540" y="566639"/>
                </a:cubicBezTo>
                <a:cubicBezTo>
                  <a:pt x="1987540" y="179606"/>
                  <a:pt x="1986705" y="114113"/>
                  <a:pt x="1981615" y="102678"/>
                </a:cubicBezTo>
                <a:cubicBezTo>
                  <a:pt x="1969906" y="76307"/>
                  <a:pt x="2023208" y="78040"/>
                  <a:pt x="1244492" y="79114"/>
                </a:cubicBezTo>
                <a:lnTo>
                  <a:pt x="541820" y="80085"/>
                </a:lnTo>
                <a:lnTo>
                  <a:pt x="530010" y="92525"/>
                </a:lnTo>
                <a:lnTo>
                  <a:pt x="518197" y="104930"/>
                </a:lnTo>
                <a:lnTo>
                  <a:pt x="518197" y="403877"/>
                </a:lnTo>
                <a:lnTo>
                  <a:pt x="518197" y="702789"/>
                </a:lnTo>
                <a:lnTo>
                  <a:pt x="504437" y="715749"/>
                </a:lnTo>
                <a:cubicBezTo>
                  <a:pt x="494249" y="725313"/>
                  <a:pt x="487149" y="728674"/>
                  <a:pt x="477113" y="728674"/>
                </a:cubicBezTo>
                <a:cubicBezTo>
                  <a:pt x="459957" y="728640"/>
                  <a:pt x="438150" y="716338"/>
                  <a:pt x="435201" y="705006"/>
                </a:cubicBezTo>
                <a:cubicBezTo>
                  <a:pt x="433961" y="700259"/>
                  <a:pt x="433455" y="559397"/>
                  <a:pt x="434082" y="392026"/>
                </a:cubicBezTo>
                <a:lnTo>
                  <a:pt x="435219" y="87708"/>
                </a:lnTo>
                <a:lnTo>
                  <a:pt x="444578" y="69862"/>
                </a:lnTo>
                <a:cubicBezTo>
                  <a:pt x="457247" y="45675"/>
                  <a:pt x="483195" y="22007"/>
                  <a:pt x="510103" y="10087"/>
                </a:cubicBezTo>
                <a:lnTo>
                  <a:pt x="532367" y="210"/>
                </a:lnTo>
                <a:lnTo>
                  <a:pt x="1252870" y="210"/>
                </a:lnTo>
                <a:lnTo>
                  <a:pt x="1973374" y="210"/>
                </a:lnTo>
                <a:lnTo>
                  <a:pt x="1996210" y="10745"/>
                </a:lnTo>
                <a:cubicBezTo>
                  <a:pt x="2022851" y="23046"/>
                  <a:pt x="2049384" y="48551"/>
                  <a:pt x="2061772" y="73743"/>
                </a:cubicBezTo>
                <a:lnTo>
                  <a:pt x="2070519" y="91520"/>
                </a:lnTo>
                <a:lnTo>
                  <a:pt x="2070519" y="567021"/>
                </a:lnTo>
                <a:lnTo>
                  <a:pt x="2070519" y="1042486"/>
                </a:lnTo>
                <a:lnTo>
                  <a:pt x="2061183" y="1060125"/>
                </a:lnTo>
                <a:cubicBezTo>
                  <a:pt x="2046096" y="1088643"/>
                  <a:pt x="2025990" y="1107667"/>
                  <a:pt x="1996570" y="1121251"/>
                </a:cubicBezTo>
                <a:lnTo>
                  <a:pt x="1969507" y="1133795"/>
                </a:lnTo>
                <a:lnTo>
                  <a:pt x="1661260" y="1135702"/>
                </a:lnTo>
                <a:lnTo>
                  <a:pt x="1353013" y="1137607"/>
                </a:lnTo>
                <a:lnTo>
                  <a:pt x="1232547" y="1285954"/>
                </a:lnTo>
                <a:cubicBezTo>
                  <a:pt x="1166295" y="1367526"/>
                  <a:pt x="1109195" y="1438598"/>
                  <a:pt x="1105664" y="1443796"/>
                </a:cubicBezTo>
                <a:cubicBezTo>
                  <a:pt x="1102132" y="1449028"/>
                  <a:pt x="1097378" y="1454573"/>
                  <a:pt x="1095101" y="1456132"/>
                </a:cubicBezTo>
                <a:cubicBezTo>
                  <a:pt x="1089062" y="1460187"/>
                  <a:pt x="1063776" y="1459424"/>
                  <a:pt x="1055539" y="1454920"/>
                </a:cubicBezTo>
                <a:close/>
                <a:moveTo>
                  <a:pt x="406326" y="1409629"/>
                </a:moveTo>
                <a:cubicBezTo>
                  <a:pt x="280423" y="1378615"/>
                  <a:pt x="200687" y="1264574"/>
                  <a:pt x="218892" y="1141592"/>
                </a:cubicBezTo>
                <a:cubicBezTo>
                  <a:pt x="235384" y="1030150"/>
                  <a:pt x="320890" y="949791"/>
                  <a:pt x="439464" y="934302"/>
                </a:cubicBezTo>
                <a:cubicBezTo>
                  <a:pt x="563987" y="918015"/>
                  <a:pt x="683275" y="987181"/>
                  <a:pt x="721195" y="1097653"/>
                </a:cubicBezTo>
                <a:cubicBezTo>
                  <a:pt x="733063" y="1132236"/>
                  <a:pt x="735797" y="1196967"/>
                  <a:pt x="726895" y="1232694"/>
                </a:cubicBezTo>
                <a:cubicBezTo>
                  <a:pt x="705251" y="1319567"/>
                  <a:pt x="629747" y="1391090"/>
                  <a:pt x="538438" y="1411257"/>
                </a:cubicBezTo>
                <a:cubicBezTo>
                  <a:pt x="502334" y="1419227"/>
                  <a:pt x="442264" y="1418500"/>
                  <a:pt x="406326" y="1409629"/>
                </a:cubicBezTo>
                <a:close/>
                <a:moveTo>
                  <a:pt x="516780" y="1332007"/>
                </a:moveTo>
                <a:cubicBezTo>
                  <a:pt x="597683" y="1311736"/>
                  <a:pt x="653373" y="1239035"/>
                  <a:pt x="646550" y="1162592"/>
                </a:cubicBezTo>
                <a:cubicBezTo>
                  <a:pt x="642042" y="1112068"/>
                  <a:pt x="613682" y="1066916"/>
                  <a:pt x="569611" y="1040165"/>
                </a:cubicBezTo>
                <a:cubicBezTo>
                  <a:pt x="534993" y="1019131"/>
                  <a:pt x="508793" y="1012720"/>
                  <a:pt x="465325" y="1014695"/>
                </a:cubicBezTo>
                <a:cubicBezTo>
                  <a:pt x="434553" y="1016081"/>
                  <a:pt x="425901" y="1018126"/>
                  <a:pt x="399797" y="1030254"/>
                </a:cubicBezTo>
                <a:cubicBezTo>
                  <a:pt x="362955" y="1047373"/>
                  <a:pt x="336418" y="1072842"/>
                  <a:pt x="318582" y="1108222"/>
                </a:cubicBezTo>
                <a:cubicBezTo>
                  <a:pt x="306516" y="1132132"/>
                  <a:pt x="305691" y="1136464"/>
                  <a:pt x="305691" y="1175725"/>
                </a:cubicBezTo>
                <a:cubicBezTo>
                  <a:pt x="305691" y="1215749"/>
                  <a:pt x="306312" y="1218833"/>
                  <a:pt x="319532" y="1244060"/>
                </a:cubicBezTo>
                <a:cubicBezTo>
                  <a:pt x="356592" y="1314820"/>
                  <a:pt x="438878" y="1351482"/>
                  <a:pt x="516780" y="1332007"/>
                </a:cubicBezTo>
                <a:close/>
                <a:moveTo>
                  <a:pt x="1242749" y="889842"/>
                </a:moveTo>
                <a:cubicBezTo>
                  <a:pt x="1216115" y="881249"/>
                  <a:pt x="1213668" y="877368"/>
                  <a:pt x="1210615" y="838973"/>
                </a:cubicBezTo>
                <a:lnTo>
                  <a:pt x="1208346" y="810454"/>
                </a:lnTo>
                <a:lnTo>
                  <a:pt x="1154347" y="808548"/>
                </a:lnTo>
                <a:cubicBezTo>
                  <a:pt x="1101287" y="806677"/>
                  <a:pt x="1100178" y="806469"/>
                  <a:pt x="1090593" y="795969"/>
                </a:cubicBezTo>
                <a:cubicBezTo>
                  <a:pt x="1080052" y="784430"/>
                  <a:pt x="1077342" y="760935"/>
                  <a:pt x="1085007" y="747490"/>
                </a:cubicBezTo>
                <a:cubicBezTo>
                  <a:pt x="1094526" y="730753"/>
                  <a:pt x="1107559" y="728674"/>
                  <a:pt x="1202202" y="728674"/>
                </a:cubicBezTo>
                <a:cubicBezTo>
                  <a:pt x="1301893" y="728674"/>
                  <a:pt x="1309482" y="727253"/>
                  <a:pt x="1330579" y="704660"/>
                </a:cubicBezTo>
                <a:cubicBezTo>
                  <a:pt x="1360851" y="672260"/>
                  <a:pt x="1347846" y="618168"/>
                  <a:pt x="1306239" y="603371"/>
                </a:cubicBezTo>
                <a:cubicBezTo>
                  <a:pt x="1299974" y="601153"/>
                  <a:pt x="1278042" y="599351"/>
                  <a:pt x="1257504" y="599351"/>
                </a:cubicBezTo>
                <a:cubicBezTo>
                  <a:pt x="1236840" y="599351"/>
                  <a:pt x="1209409" y="596718"/>
                  <a:pt x="1196079" y="593426"/>
                </a:cubicBezTo>
                <a:cubicBezTo>
                  <a:pt x="1151412" y="582510"/>
                  <a:pt x="1113651" y="552640"/>
                  <a:pt x="1093528" y="512304"/>
                </a:cubicBezTo>
                <a:cubicBezTo>
                  <a:pt x="1084235" y="493661"/>
                  <a:pt x="1082862" y="486038"/>
                  <a:pt x="1082866" y="452875"/>
                </a:cubicBezTo>
                <a:cubicBezTo>
                  <a:pt x="1082869" y="419020"/>
                  <a:pt x="1084054" y="412748"/>
                  <a:pt x="1093650" y="395630"/>
                </a:cubicBezTo>
                <a:cubicBezTo>
                  <a:pt x="1112861" y="361428"/>
                  <a:pt x="1145084" y="337899"/>
                  <a:pt x="1186178" y="328023"/>
                </a:cubicBezTo>
                <a:lnTo>
                  <a:pt x="1208346" y="322721"/>
                </a:lnTo>
                <a:lnTo>
                  <a:pt x="1209378" y="298395"/>
                </a:lnTo>
                <a:cubicBezTo>
                  <a:pt x="1210865" y="263569"/>
                  <a:pt x="1213069" y="257643"/>
                  <a:pt x="1227682" y="249258"/>
                </a:cubicBezTo>
                <a:cubicBezTo>
                  <a:pt x="1247919" y="237683"/>
                  <a:pt x="1265363" y="239416"/>
                  <a:pt x="1281608" y="254698"/>
                </a:cubicBezTo>
                <a:cubicBezTo>
                  <a:pt x="1294647" y="266965"/>
                  <a:pt x="1295372" y="269044"/>
                  <a:pt x="1295372" y="294341"/>
                </a:cubicBezTo>
                <a:lnTo>
                  <a:pt x="1295372" y="321023"/>
                </a:lnTo>
                <a:lnTo>
                  <a:pt x="1345687" y="322305"/>
                </a:lnTo>
                <a:cubicBezTo>
                  <a:pt x="1389245" y="323379"/>
                  <a:pt x="1397534" y="324627"/>
                  <a:pt x="1407382" y="331557"/>
                </a:cubicBezTo>
                <a:cubicBezTo>
                  <a:pt x="1429608" y="347151"/>
                  <a:pt x="1429605" y="379828"/>
                  <a:pt x="1407382" y="395421"/>
                </a:cubicBezTo>
                <a:cubicBezTo>
                  <a:pt x="1396744" y="402906"/>
                  <a:pt x="1389561" y="403565"/>
                  <a:pt x="1297395" y="405332"/>
                </a:cubicBezTo>
                <a:cubicBezTo>
                  <a:pt x="1205864" y="407099"/>
                  <a:pt x="1197991" y="407793"/>
                  <a:pt x="1187627" y="415069"/>
                </a:cubicBezTo>
                <a:cubicBezTo>
                  <a:pt x="1165422" y="430663"/>
                  <a:pt x="1159770" y="441821"/>
                  <a:pt x="1159770" y="469994"/>
                </a:cubicBezTo>
                <a:cubicBezTo>
                  <a:pt x="1159770" y="498097"/>
                  <a:pt x="1165442" y="509359"/>
                  <a:pt x="1187322" y="524710"/>
                </a:cubicBezTo>
                <a:cubicBezTo>
                  <a:pt x="1196494" y="531120"/>
                  <a:pt x="1206911" y="532680"/>
                  <a:pt x="1254381" y="534655"/>
                </a:cubicBezTo>
                <a:cubicBezTo>
                  <a:pt x="1306994" y="536838"/>
                  <a:pt x="1312275" y="537774"/>
                  <a:pt x="1337069" y="549244"/>
                </a:cubicBezTo>
                <a:cubicBezTo>
                  <a:pt x="1392042" y="574644"/>
                  <a:pt x="1421957" y="620177"/>
                  <a:pt x="1422550" y="679294"/>
                </a:cubicBezTo>
                <a:cubicBezTo>
                  <a:pt x="1422844" y="708575"/>
                  <a:pt x="1421597" y="714120"/>
                  <a:pt x="1409520" y="737199"/>
                </a:cubicBezTo>
                <a:cubicBezTo>
                  <a:pt x="1390330" y="773861"/>
                  <a:pt x="1354246" y="799226"/>
                  <a:pt x="1310549" y="806780"/>
                </a:cubicBezTo>
                <a:lnTo>
                  <a:pt x="1295372" y="809414"/>
                </a:lnTo>
                <a:lnTo>
                  <a:pt x="1295372" y="833463"/>
                </a:lnTo>
                <a:cubicBezTo>
                  <a:pt x="1295372" y="861947"/>
                  <a:pt x="1290964" y="874595"/>
                  <a:pt x="1278350" y="882288"/>
                </a:cubicBezTo>
                <a:cubicBezTo>
                  <a:pt x="1267137" y="889080"/>
                  <a:pt x="1251037" y="892511"/>
                  <a:pt x="1242752" y="889842"/>
                </a:cubicBezTo>
                <a:close/>
              </a:path>
            </a:pathLst>
          </a:custGeom>
          <a:solidFill>
            <a:schemeClr val="bg1"/>
          </a:solidFill>
          <a:ln w="3919" cap="flat">
            <a:noFill/>
            <a:prstDash val="solid"/>
            <a:miter/>
          </a:ln>
        </p:spPr>
        <p:txBody>
          <a:bodyPr rtlCol="0" anchor="ctr"/>
          <a:lstStyle/>
          <a:p>
            <a:endParaRPr lang="en-IN"/>
          </a:p>
        </p:txBody>
      </p:sp>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p:txBody>
          <a:bodyPr/>
          <a:lstStyle/>
          <a:p>
            <a:r>
              <a:rPr lang="en-GB" sz="2400" b="1" dirty="0"/>
              <a:t>Types of consultants</a:t>
            </a:r>
          </a:p>
        </p:txBody>
      </p:sp>
      <p:sp>
        <p:nvSpPr>
          <p:cNvPr id="16" name="Text Placeholder 15">
            <a:extLst>
              <a:ext uri="{FF2B5EF4-FFF2-40B4-BE49-F238E27FC236}">
                <a16:creationId xmlns:a16="http://schemas.microsoft.com/office/drawing/2014/main" id="{D871E0FD-6F70-45E4-A7D4-CCB8D45E4847}"/>
              </a:ext>
            </a:extLst>
          </p:cNvPr>
          <p:cNvSpPr>
            <a:spLocks noGrp="1"/>
          </p:cNvSpPr>
          <p:nvPr>
            <p:ph type="body" sz="quarter" idx="13"/>
          </p:nvPr>
        </p:nvSpPr>
        <p:spPr/>
        <p:txBody>
          <a:bodyPr>
            <a:normAutofit lnSpcReduction="10000"/>
          </a:bodyPr>
          <a:lstStyle/>
          <a:p>
            <a:endParaRPr lang="en-IN" dirty="0"/>
          </a:p>
        </p:txBody>
      </p:sp>
      <p:sp>
        <p:nvSpPr>
          <p:cNvPr id="64" name="Oval 63">
            <a:extLst>
              <a:ext uri="{FF2B5EF4-FFF2-40B4-BE49-F238E27FC236}">
                <a16:creationId xmlns:a16="http://schemas.microsoft.com/office/drawing/2014/main" id="{70730993-857A-450D-970B-A29CD2F08E3B}"/>
              </a:ext>
            </a:extLst>
          </p:cNvPr>
          <p:cNvSpPr/>
          <p:nvPr/>
        </p:nvSpPr>
        <p:spPr>
          <a:xfrm>
            <a:off x="1520174" y="3581505"/>
            <a:ext cx="170264" cy="167016"/>
          </a:xfrm>
          <a:prstGeom prst="ellipse">
            <a:avLst/>
          </a:prstGeom>
          <a:solidFill>
            <a:srgbClr val="07A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65" name="Teardrop 64">
            <a:extLst>
              <a:ext uri="{FF2B5EF4-FFF2-40B4-BE49-F238E27FC236}">
                <a16:creationId xmlns:a16="http://schemas.microsoft.com/office/drawing/2014/main" id="{8B0C03D5-1EC9-41DF-A86D-86A404D076AE}"/>
              </a:ext>
            </a:extLst>
          </p:cNvPr>
          <p:cNvSpPr/>
          <p:nvPr/>
        </p:nvSpPr>
        <p:spPr>
          <a:xfrm rot="8100000">
            <a:off x="1239219" y="2014048"/>
            <a:ext cx="732173" cy="718204"/>
          </a:xfrm>
          <a:prstGeom prst="teardrop">
            <a:avLst/>
          </a:prstGeom>
          <a:solidFill>
            <a:srgbClr val="07AA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67" name="Straight Connector 66">
            <a:extLst>
              <a:ext uri="{FF2B5EF4-FFF2-40B4-BE49-F238E27FC236}">
                <a16:creationId xmlns:a16="http://schemas.microsoft.com/office/drawing/2014/main" id="{5C42981C-2DB7-4495-A409-DCADAC52ECA4}"/>
              </a:ext>
            </a:extLst>
          </p:cNvPr>
          <p:cNvCxnSpPr>
            <a:cxnSpLocks/>
            <a:endCxn id="64" idx="0"/>
          </p:cNvCxnSpPr>
          <p:nvPr/>
        </p:nvCxnSpPr>
        <p:spPr>
          <a:xfrm>
            <a:off x="1600367" y="2882126"/>
            <a:ext cx="4939" cy="699379"/>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071F64BC-C5BC-4DC1-B873-CCBEE685B63B}"/>
              </a:ext>
            </a:extLst>
          </p:cNvPr>
          <p:cNvSpPr/>
          <p:nvPr/>
        </p:nvSpPr>
        <p:spPr>
          <a:xfrm>
            <a:off x="2955970" y="2878164"/>
            <a:ext cx="170264" cy="16701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70" name="Teardrop 69">
            <a:extLst>
              <a:ext uri="{FF2B5EF4-FFF2-40B4-BE49-F238E27FC236}">
                <a16:creationId xmlns:a16="http://schemas.microsoft.com/office/drawing/2014/main" id="{F7F97221-FA6C-4C1F-8AE4-938C7C85E0AA}"/>
              </a:ext>
            </a:extLst>
          </p:cNvPr>
          <p:cNvSpPr/>
          <p:nvPr/>
        </p:nvSpPr>
        <p:spPr>
          <a:xfrm rot="8100000">
            <a:off x="2675014" y="1310705"/>
            <a:ext cx="732173" cy="718204"/>
          </a:xfrm>
          <a:prstGeom prst="teardrop">
            <a:avLst/>
          </a:prstGeom>
          <a:solidFill>
            <a:srgbClr val="003F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72" name="Straight Connector 71">
            <a:extLst>
              <a:ext uri="{FF2B5EF4-FFF2-40B4-BE49-F238E27FC236}">
                <a16:creationId xmlns:a16="http://schemas.microsoft.com/office/drawing/2014/main" id="{FDEADC51-F3BF-4CAC-A58D-374E528450C3}"/>
              </a:ext>
            </a:extLst>
          </p:cNvPr>
          <p:cNvCxnSpPr>
            <a:cxnSpLocks/>
            <a:endCxn id="69" idx="0"/>
          </p:cNvCxnSpPr>
          <p:nvPr/>
        </p:nvCxnSpPr>
        <p:spPr>
          <a:xfrm>
            <a:off x="3036162" y="2173166"/>
            <a:ext cx="4940" cy="704998"/>
          </a:xfrm>
          <a:prstGeom prst="line">
            <a:avLst/>
          </a:prstGeom>
          <a:ln>
            <a:solidFill>
              <a:srgbClr val="003F62"/>
            </a:solidFill>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E63F8C9E-F176-49FA-9826-B14159F6D499}"/>
              </a:ext>
            </a:extLst>
          </p:cNvPr>
          <p:cNvSpPr/>
          <p:nvPr/>
        </p:nvSpPr>
        <p:spPr>
          <a:xfrm>
            <a:off x="5557023" y="2765967"/>
            <a:ext cx="170264" cy="16701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75" name="Teardrop 74">
            <a:extLst>
              <a:ext uri="{FF2B5EF4-FFF2-40B4-BE49-F238E27FC236}">
                <a16:creationId xmlns:a16="http://schemas.microsoft.com/office/drawing/2014/main" id="{247DC1F4-6B95-4649-B6A4-D8806B350860}"/>
              </a:ext>
            </a:extLst>
          </p:cNvPr>
          <p:cNvSpPr/>
          <p:nvPr/>
        </p:nvSpPr>
        <p:spPr>
          <a:xfrm rot="8100000">
            <a:off x="5276069" y="1200321"/>
            <a:ext cx="732173" cy="718204"/>
          </a:xfrm>
          <a:prstGeom prst="teardrop">
            <a:avLst/>
          </a:prstGeom>
          <a:solidFill>
            <a:srgbClr val="003F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77" name="Straight Connector 76">
            <a:extLst>
              <a:ext uri="{FF2B5EF4-FFF2-40B4-BE49-F238E27FC236}">
                <a16:creationId xmlns:a16="http://schemas.microsoft.com/office/drawing/2014/main" id="{58E52D1D-BD44-4AE6-8DE8-9311997ACC3B}"/>
              </a:ext>
            </a:extLst>
          </p:cNvPr>
          <p:cNvCxnSpPr>
            <a:cxnSpLocks/>
            <a:endCxn id="74" idx="0"/>
          </p:cNvCxnSpPr>
          <p:nvPr/>
        </p:nvCxnSpPr>
        <p:spPr>
          <a:xfrm>
            <a:off x="5637217" y="2068399"/>
            <a:ext cx="4938" cy="697568"/>
          </a:xfrm>
          <a:prstGeom prst="line">
            <a:avLst/>
          </a:prstGeom>
          <a:ln>
            <a:solidFill>
              <a:srgbClr val="003F62"/>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CA3F9962-5C8F-408C-86AD-E152F03BCB1A}"/>
              </a:ext>
            </a:extLst>
          </p:cNvPr>
          <p:cNvSpPr/>
          <p:nvPr/>
        </p:nvSpPr>
        <p:spPr>
          <a:xfrm>
            <a:off x="6946287" y="3194871"/>
            <a:ext cx="170264" cy="167016"/>
          </a:xfrm>
          <a:prstGeom prst="ellipse">
            <a:avLst/>
          </a:pr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85" name="Teardrop 84">
            <a:extLst>
              <a:ext uri="{FF2B5EF4-FFF2-40B4-BE49-F238E27FC236}">
                <a16:creationId xmlns:a16="http://schemas.microsoft.com/office/drawing/2014/main" id="{B865576A-9F0E-45E2-B96E-30E235981D8E}"/>
              </a:ext>
            </a:extLst>
          </p:cNvPr>
          <p:cNvSpPr/>
          <p:nvPr/>
        </p:nvSpPr>
        <p:spPr>
          <a:xfrm rot="8100000">
            <a:off x="6665332" y="1636841"/>
            <a:ext cx="732173" cy="718204"/>
          </a:xfrm>
          <a:prstGeom prst="teardrop">
            <a:avLst/>
          </a:prstGeom>
          <a:solidFill>
            <a:srgbClr val="007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87" name="Straight Connector 86">
            <a:extLst>
              <a:ext uri="{FF2B5EF4-FFF2-40B4-BE49-F238E27FC236}">
                <a16:creationId xmlns:a16="http://schemas.microsoft.com/office/drawing/2014/main" id="{B9055A8F-EB35-4B6B-9C00-5BB36420C035}"/>
              </a:ext>
            </a:extLst>
          </p:cNvPr>
          <p:cNvCxnSpPr>
            <a:cxnSpLocks/>
            <a:endCxn id="84" idx="0"/>
          </p:cNvCxnSpPr>
          <p:nvPr/>
        </p:nvCxnSpPr>
        <p:spPr>
          <a:xfrm>
            <a:off x="7026480" y="2499302"/>
            <a:ext cx="4939" cy="69556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3689991-4260-4EC2-BFD2-5EFE932F5EB5}"/>
              </a:ext>
            </a:extLst>
          </p:cNvPr>
          <p:cNvSpPr/>
          <p:nvPr/>
        </p:nvSpPr>
        <p:spPr>
          <a:xfrm>
            <a:off x="8260696" y="3568651"/>
            <a:ext cx="170264" cy="167016"/>
          </a:xfrm>
          <a:prstGeom prst="ellipse">
            <a:avLst/>
          </a:prstGeom>
          <a:solidFill>
            <a:srgbClr val="07A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sp>
        <p:nvSpPr>
          <p:cNvPr id="90" name="Teardrop 89">
            <a:extLst>
              <a:ext uri="{FF2B5EF4-FFF2-40B4-BE49-F238E27FC236}">
                <a16:creationId xmlns:a16="http://schemas.microsoft.com/office/drawing/2014/main" id="{20781DC1-F380-434F-8767-8A56ED0CC76B}"/>
              </a:ext>
            </a:extLst>
          </p:cNvPr>
          <p:cNvSpPr/>
          <p:nvPr/>
        </p:nvSpPr>
        <p:spPr>
          <a:xfrm rot="8100000">
            <a:off x="7974266" y="2112103"/>
            <a:ext cx="732173" cy="718204"/>
          </a:xfrm>
          <a:prstGeom prst="teardrop">
            <a:avLst/>
          </a:prstGeom>
          <a:solidFill>
            <a:srgbClr val="07AA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cxnSp>
        <p:nvCxnSpPr>
          <p:cNvPr id="92" name="Straight Connector 91">
            <a:extLst>
              <a:ext uri="{FF2B5EF4-FFF2-40B4-BE49-F238E27FC236}">
                <a16:creationId xmlns:a16="http://schemas.microsoft.com/office/drawing/2014/main" id="{A768D0A9-231A-4162-AF5E-8C8899BC1ED2}"/>
              </a:ext>
            </a:extLst>
          </p:cNvPr>
          <p:cNvCxnSpPr>
            <a:cxnSpLocks/>
          </p:cNvCxnSpPr>
          <p:nvPr/>
        </p:nvCxnSpPr>
        <p:spPr>
          <a:xfrm>
            <a:off x="8335414" y="2927429"/>
            <a:ext cx="10414" cy="641222"/>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1" name="Graphic 9">
            <a:extLst>
              <a:ext uri="{FF2B5EF4-FFF2-40B4-BE49-F238E27FC236}">
                <a16:creationId xmlns:a16="http://schemas.microsoft.com/office/drawing/2014/main" id="{BE2673FF-CA3F-4022-AD7E-2E3A0C187577}"/>
              </a:ext>
            </a:extLst>
          </p:cNvPr>
          <p:cNvSpPr/>
          <p:nvPr/>
        </p:nvSpPr>
        <p:spPr>
          <a:xfrm>
            <a:off x="3900800" y="2955885"/>
            <a:ext cx="3383280" cy="1737360"/>
          </a:xfrm>
          <a:custGeom>
            <a:avLst/>
            <a:gdLst>
              <a:gd name="connsiteX0" fmla="*/ 6119446 w 6817420"/>
              <a:gd name="connsiteY0" fmla="*/ 5640604 h 6858000"/>
              <a:gd name="connsiteX1" fmla="*/ 3408710 w 6817420"/>
              <a:gd name="connsiteY1" fmla="*/ 0 h 6858000"/>
              <a:gd name="connsiteX2" fmla="*/ 697974 w 6817420"/>
              <a:gd name="connsiteY2" fmla="*/ 5640604 h 6858000"/>
              <a:gd name="connsiteX3" fmla="*/ 0 w 6817420"/>
              <a:gd name="connsiteY3" fmla="*/ 6858000 h 6858000"/>
              <a:gd name="connsiteX4" fmla="*/ 3408710 w 6817420"/>
              <a:gd name="connsiteY4" fmla="*/ 6858000 h 6858000"/>
              <a:gd name="connsiteX5" fmla="*/ 6817420 w 6817420"/>
              <a:gd name="connsiteY5" fmla="*/ 6858000 h 6858000"/>
              <a:gd name="connsiteX6" fmla="*/ 6119446 w 6817420"/>
              <a:gd name="connsiteY6" fmla="*/ 56406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7420" h="6858000">
                <a:moveTo>
                  <a:pt x="6119446" y="5640604"/>
                </a:moveTo>
                <a:cubicBezTo>
                  <a:pt x="5448255" y="4285236"/>
                  <a:pt x="4772194" y="0"/>
                  <a:pt x="3408710" y="0"/>
                </a:cubicBezTo>
                <a:cubicBezTo>
                  <a:pt x="2045226" y="0"/>
                  <a:pt x="1369165" y="4285236"/>
                  <a:pt x="697974" y="5640604"/>
                </a:cubicBezTo>
                <a:cubicBezTo>
                  <a:pt x="284059" y="6476549"/>
                  <a:pt x="0" y="6858000"/>
                  <a:pt x="0" y="6858000"/>
                </a:cubicBezTo>
                <a:lnTo>
                  <a:pt x="3408710" y="6858000"/>
                </a:lnTo>
                <a:lnTo>
                  <a:pt x="6817420" y="6858000"/>
                </a:lnTo>
                <a:cubicBezTo>
                  <a:pt x="6817420" y="6858000"/>
                  <a:pt x="6533361" y="6476549"/>
                  <a:pt x="6119446" y="5640604"/>
                </a:cubicBezTo>
                <a:close/>
              </a:path>
            </a:pathLst>
          </a:custGeom>
          <a:solidFill>
            <a:srgbClr val="003F62">
              <a:alpha val="50000"/>
            </a:srgbClr>
          </a:solidFill>
          <a:ln w="8108" cap="flat">
            <a:noFill/>
            <a:prstDash val="solid"/>
            <a:miter/>
          </a:ln>
        </p:spPr>
        <p:txBody>
          <a:bodyPr rtlCol="0" anchor="ctr"/>
          <a:lstStyle/>
          <a:p>
            <a:endParaRPr lang="en-US" sz="1463"/>
          </a:p>
        </p:txBody>
      </p:sp>
      <p:sp>
        <p:nvSpPr>
          <p:cNvPr id="78" name="TextBox 77">
            <a:extLst>
              <a:ext uri="{FF2B5EF4-FFF2-40B4-BE49-F238E27FC236}">
                <a16:creationId xmlns:a16="http://schemas.microsoft.com/office/drawing/2014/main" id="{8818975D-DB1B-4D67-92A6-2D53B49C1688}"/>
              </a:ext>
            </a:extLst>
          </p:cNvPr>
          <p:cNvSpPr txBox="1"/>
          <p:nvPr/>
        </p:nvSpPr>
        <p:spPr>
          <a:xfrm>
            <a:off x="5309447" y="3307982"/>
            <a:ext cx="639317" cy="403957"/>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Human </a:t>
            </a:r>
          </a:p>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Resource</a:t>
            </a:r>
          </a:p>
        </p:txBody>
      </p:sp>
      <p:sp>
        <p:nvSpPr>
          <p:cNvPr id="58" name="Graphic 9">
            <a:extLst>
              <a:ext uri="{FF2B5EF4-FFF2-40B4-BE49-F238E27FC236}">
                <a16:creationId xmlns:a16="http://schemas.microsoft.com/office/drawing/2014/main" id="{8A1A7EB2-7702-4F13-AE07-5F708D9F2947}"/>
              </a:ext>
            </a:extLst>
          </p:cNvPr>
          <p:cNvSpPr/>
          <p:nvPr/>
        </p:nvSpPr>
        <p:spPr>
          <a:xfrm>
            <a:off x="417513" y="3805133"/>
            <a:ext cx="2399039" cy="889911"/>
          </a:xfrm>
          <a:custGeom>
            <a:avLst/>
            <a:gdLst>
              <a:gd name="connsiteX0" fmla="*/ 6119446 w 6817420"/>
              <a:gd name="connsiteY0" fmla="*/ 5640604 h 6858000"/>
              <a:gd name="connsiteX1" fmla="*/ 3408710 w 6817420"/>
              <a:gd name="connsiteY1" fmla="*/ 0 h 6858000"/>
              <a:gd name="connsiteX2" fmla="*/ 697974 w 6817420"/>
              <a:gd name="connsiteY2" fmla="*/ 5640604 h 6858000"/>
              <a:gd name="connsiteX3" fmla="*/ 0 w 6817420"/>
              <a:gd name="connsiteY3" fmla="*/ 6858000 h 6858000"/>
              <a:gd name="connsiteX4" fmla="*/ 3408710 w 6817420"/>
              <a:gd name="connsiteY4" fmla="*/ 6858000 h 6858000"/>
              <a:gd name="connsiteX5" fmla="*/ 6817420 w 6817420"/>
              <a:gd name="connsiteY5" fmla="*/ 6858000 h 6858000"/>
              <a:gd name="connsiteX6" fmla="*/ 6119446 w 6817420"/>
              <a:gd name="connsiteY6" fmla="*/ 56406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7420" h="6858000">
                <a:moveTo>
                  <a:pt x="6119446" y="5640604"/>
                </a:moveTo>
                <a:cubicBezTo>
                  <a:pt x="5448255" y="4285236"/>
                  <a:pt x="4772194" y="0"/>
                  <a:pt x="3408710" y="0"/>
                </a:cubicBezTo>
                <a:cubicBezTo>
                  <a:pt x="2045226" y="0"/>
                  <a:pt x="1369165" y="4285236"/>
                  <a:pt x="697974" y="5640604"/>
                </a:cubicBezTo>
                <a:cubicBezTo>
                  <a:pt x="284059" y="6476549"/>
                  <a:pt x="0" y="6858000"/>
                  <a:pt x="0" y="6858000"/>
                </a:cubicBezTo>
                <a:lnTo>
                  <a:pt x="3408710" y="6858000"/>
                </a:lnTo>
                <a:lnTo>
                  <a:pt x="6817420" y="6858000"/>
                </a:lnTo>
                <a:cubicBezTo>
                  <a:pt x="6817420" y="6858000"/>
                  <a:pt x="6533361" y="6476549"/>
                  <a:pt x="6119446" y="5640604"/>
                </a:cubicBezTo>
                <a:close/>
              </a:path>
            </a:pathLst>
          </a:custGeom>
          <a:solidFill>
            <a:srgbClr val="07AADB">
              <a:alpha val="50000"/>
            </a:srgbClr>
          </a:solidFill>
          <a:ln w="8108" cap="flat">
            <a:noFill/>
            <a:prstDash val="solid"/>
            <a:miter/>
          </a:ln>
        </p:spPr>
        <p:txBody>
          <a:bodyPr rtlCol="0" anchor="ctr"/>
          <a:lstStyle/>
          <a:p>
            <a:endParaRPr lang="en-US" sz="1463"/>
          </a:p>
        </p:txBody>
      </p:sp>
      <p:sp>
        <p:nvSpPr>
          <p:cNvPr id="59" name="Graphic 9">
            <a:extLst>
              <a:ext uri="{FF2B5EF4-FFF2-40B4-BE49-F238E27FC236}">
                <a16:creationId xmlns:a16="http://schemas.microsoft.com/office/drawing/2014/main" id="{1A73D05B-116F-43A8-AA8B-F1310B7BB888}"/>
              </a:ext>
            </a:extLst>
          </p:cNvPr>
          <p:cNvSpPr/>
          <p:nvPr/>
        </p:nvSpPr>
        <p:spPr>
          <a:xfrm>
            <a:off x="1374051" y="3077723"/>
            <a:ext cx="3286546" cy="1617322"/>
          </a:xfrm>
          <a:custGeom>
            <a:avLst/>
            <a:gdLst>
              <a:gd name="connsiteX0" fmla="*/ 6119446 w 6817420"/>
              <a:gd name="connsiteY0" fmla="*/ 5640604 h 6858000"/>
              <a:gd name="connsiteX1" fmla="*/ 3408710 w 6817420"/>
              <a:gd name="connsiteY1" fmla="*/ 0 h 6858000"/>
              <a:gd name="connsiteX2" fmla="*/ 697974 w 6817420"/>
              <a:gd name="connsiteY2" fmla="*/ 5640604 h 6858000"/>
              <a:gd name="connsiteX3" fmla="*/ 0 w 6817420"/>
              <a:gd name="connsiteY3" fmla="*/ 6858000 h 6858000"/>
              <a:gd name="connsiteX4" fmla="*/ 3408710 w 6817420"/>
              <a:gd name="connsiteY4" fmla="*/ 6858000 h 6858000"/>
              <a:gd name="connsiteX5" fmla="*/ 6817420 w 6817420"/>
              <a:gd name="connsiteY5" fmla="*/ 6858000 h 6858000"/>
              <a:gd name="connsiteX6" fmla="*/ 6119446 w 6817420"/>
              <a:gd name="connsiteY6" fmla="*/ 56406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7420" h="6858000">
                <a:moveTo>
                  <a:pt x="6119446" y="5640604"/>
                </a:moveTo>
                <a:cubicBezTo>
                  <a:pt x="5448255" y="4285236"/>
                  <a:pt x="4772194" y="0"/>
                  <a:pt x="3408710" y="0"/>
                </a:cubicBezTo>
                <a:cubicBezTo>
                  <a:pt x="2045226" y="0"/>
                  <a:pt x="1369165" y="4285236"/>
                  <a:pt x="697974" y="5640604"/>
                </a:cubicBezTo>
                <a:cubicBezTo>
                  <a:pt x="284059" y="6476549"/>
                  <a:pt x="0" y="6858000"/>
                  <a:pt x="0" y="6858000"/>
                </a:cubicBezTo>
                <a:lnTo>
                  <a:pt x="3408710" y="6858000"/>
                </a:lnTo>
                <a:lnTo>
                  <a:pt x="6817420" y="6858000"/>
                </a:lnTo>
                <a:cubicBezTo>
                  <a:pt x="6817420" y="6858000"/>
                  <a:pt x="6533361" y="6476549"/>
                  <a:pt x="6119446" y="5640604"/>
                </a:cubicBezTo>
                <a:close/>
              </a:path>
            </a:pathLst>
          </a:custGeom>
          <a:solidFill>
            <a:srgbClr val="003F62">
              <a:alpha val="50000"/>
            </a:srgbClr>
          </a:solidFill>
          <a:ln w="8108" cap="flat">
            <a:noFill/>
            <a:prstDash val="solid"/>
            <a:miter/>
          </a:ln>
        </p:spPr>
        <p:txBody>
          <a:bodyPr rtlCol="0" anchor="ctr"/>
          <a:lstStyle/>
          <a:p>
            <a:endParaRPr lang="en-US" sz="1463"/>
          </a:p>
        </p:txBody>
      </p:sp>
      <p:sp>
        <p:nvSpPr>
          <p:cNvPr id="60" name="Graphic 9">
            <a:extLst>
              <a:ext uri="{FF2B5EF4-FFF2-40B4-BE49-F238E27FC236}">
                <a16:creationId xmlns:a16="http://schemas.microsoft.com/office/drawing/2014/main" id="{63287983-1371-4B84-939D-6D6EF957EA33}"/>
              </a:ext>
            </a:extLst>
          </p:cNvPr>
          <p:cNvSpPr/>
          <p:nvPr/>
        </p:nvSpPr>
        <p:spPr>
          <a:xfrm>
            <a:off x="2876387" y="3398409"/>
            <a:ext cx="2906705" cy="1296635"/>
          </a:xfrm>
          <a:custGeom>
            <a:avLst/>
            <a:gdLst>
              <a:gd name="connsiteX0" fmla="*/ 6119446 w 6817420"/>
              <a:gd name="connsiteY0" fmla="*/ 5640604 h 6858000"/>
              <a:gd name="connsiteX1" fmla="*/ 3408710 w 6817420"/>
              <a:gd name="connsiteY1" fmla="*/ 0 h 6858000"/>
              <a:gd name="connsiteX2" fmla="*/ 697974 w 6817420"/>
              <a:gd name="connsiteY2" fmla="*/ 5640604 h 6858000"/>
              <a:gd name="connsiteX3" fmla="*/ 0 w 6817420"/>
              <a:gd name="connsiteY3" fmla="*/ 6858000 h 6858000"/>
              <a:gd name="connsiteX4" fmla="*/ 3408710 w 6817420"/>
              <a:gd name="connsiteY4" fmla="*/ 6858000 h 6858000"/>
              <a:gd name="connsiteX5" fmla="*/ 6817420 w 6817420"/>
              <a:gd name="connsiteY5" fmla="*/ 6858000 h 6858000"/>
              <a:gd name="connsiteX6" fmla="*/ 6119446 w 6817420"/>
              <a:gd name="connsiteY6" fmla="*/ 56406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7420" h="6858000">
                <a:moveTo>
                  <a:pt x="6119446" y="5640604"/>
                </a:moveTo>
                <a:cubicBezTo>
                  <a:pt x="5448255" y="4285236"/>
                  <a:pt x="4772194" y="0"/>
                  <a:pt x="3408710" y="0"/>
                </a:cubicBezTo>
                <a:cubicBezTo>
                  <a:pt x="2045226" y="0"/>
                  <a:pt x="1369165" y="4285236"/>
                  <a:pt x="697974" y="5640604"/>
                </a:cubicBezTo>
                <a:cubicBezTo>
                  <a:pt x="284059" y="6476549"/>
                  <a:pt x="0" y="6858000"/>
                  <a:pt x="0" y="6858000"/>
                </a:cubicBezTo>
                <a:lnTo>
                  <a:pt x="3408710" y="6858000"/>
                </a:lnTo>
                <a:lnTo>
                  <a:pt x="6817420" y="6858000"/>
                </a:lnTo>
                <a:cubicBezTo>
                  <a:pt x="6817420" y="6858000"/>
                  <a:pt x="6533361" y="6476549"/>
                  <a:pt x="6119446" y="5640604"/>
                </a:cubicBezTo>
                <a:close/>
              </a:path>
            </a:pathLst>
          </a:custGeom>
          <a:solidFill>
            <a:srgbClr val="03556D">
              <a:alpha val="50000"/>
            </a:srgbClr>
          </a:solidFill>
          <a:ln w="8108" cap="flat">
            <a:noFill/>
            <a:prstDash val="solid"/>
            <a:miter/>
          </a:ln>
        </p:spPr>
        <p:txBody>
          <a:bodyPr rtlCol="0" anchor="ctr"/>
          <a:lstStyle/>
          <a:p>
            <a:endParaRPr lang="en-US" sz="1463"/>
          </a:p>
        </p:txBody>
      </p:sp>
      <p:sp>
        <p:nvSpPr>
          <p:cNvPr id="62" name="Graphic 9">
            <a:extLst>
              <a:ext uri="{FF2B5EF4-FFF2-40B4-BE49-F238E27FC236}">
                <a16:creationId xmlns:a16="http://schemas.microsoft.com/office/drawing/2014/main" id="{B95C3C57-C095-4681-873D-749AF38E182C}"/>
              </a:ext>
            </a:extLst>
          </p:cNvPr>
          <p:cNvSpPr/>
          <p:nvPr/>
        </p:nvSpPr>
        <p:spPr>
          <a:xfrm>
            <a:off x="5501219" y="3398409"/>
            <a:ext cx="2906705" cy="1296635"/>
          </a:xfrm>
          <a:custGeom>
            <a:avLst/>
            <a:gdLst>
              <a:gd name="connsiteX0" fmla="*/ 6119446 w 6817420"/>
              <a:gd name="connsiteY0" fmla="*/ 5640604 h 6858000"/>
              <a:gd name="connsiteX1" fmla="*/ 3408710 w 6817420"/>
              <a:gd name="connsiteY1" fmla="*/ 0 h 6858000"/>
              <a:gd name="connsiteX2" fmla="*/ 697974 w 6817420"/>
              <a:gd name="connsiteY2" fmla="*/ 5640604 h 6858000"/>
              <a:gd name="connsiteX3" fmla="*/ 0 w 6817420"/>
              <a:gd name="connsiteY3" fmla="*/ 6858000 h 6858000"/>
              <a:gd name="connsiteX4" fmla="*/ 3408710 w 6817420"/>
              <a:gd name="connsiteY4" fmla="*/ 6858000 h 6858000"/>
              <a:gd name="connsiteX5" fmla="*/ 6817420 w 6817420"/>
              <a:gd name="connsiteY5" fmla="*/ 6858000 h 6858000"/>
              <a:gd name="connsiteX6" fmla="*/ 6119446 w 6817420"/>
              <a:gd name="connsiteY6" fmla="*/ 56406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7420" h="6858000">
                <a:moveTo>
                  <a:pt x="6119446" y="5640604"/>
                </a:moveTo>
                <a:cubicBezTo>
                  <a:pt x="5448255" y="4285236"/>
                  <a:pt x="4772194" y="0"/>
                  <a:pt x="3408710" y="0"/>
                </a:cubicBezTo>
                <a:cubicBezTo>
                  <a:pt x="2045226" y="0"/>
                  <a:pt x="1369165" y="4285236"/>
                  <a:pt x="697974" y="5640604"/>
                </a:cubicBezTo>
                <a:cubicBezTo>
                  <a:pt x="284059" y="6476549"/>
                  <a:pt x="0" y="6858000"/>
                  <a:pt x="0" y="6858000"/>
                </a:cubicBezTo>
                <a:lnTo>
                  <a:pt x="3408710" y="6858000"/>
                </a:lnTo>
                <a:lnTo>
                  <a:pt x="6817420" y="6858000"/>
                </a:lnTo>
                <a:cubicBezTo>
                  <a:pt x="6817420" y="6858000"/>
                  <a:pt x="6533361" y="6476549"/>
                  <a:pt x="6119446" y="5640604"/>
                </a:cubicBezTo>
                <a:close/>
              </a:path>
            </a:pathLst>
          </a:custGeom>
          <a:solidFill>
            <a:srgbClr val="03556D">
              <a:alpha val="50000"/>
            </a:srgbClr>
          </a:solidFill>
          <a:ln w="8108" cap="flat">
            <a:noFill/>
            <a:prstDash val="solid"/>
            <a:miter/>
          </a:ln>
        </p:spPr>
        <p:txBody>
          <a:bodyPr rtlCol="0" anchor="ctr"/>
          <a:lstStyle/>
          <a:p>
            <a:endParaRPr lang="en-US" sz="1463"/>
          </a:p>
        </p:txBody>
      </p:sp>
      <p:sp>
        <p:nvSpPr>
          <p:cNvPr id="56" name="Freeform: Shape 55">
            <a:extLst>
              <a:ext uri="{FF2B5EF4-FFF2-40B4-BE49-F238E27FC236}">
                <a16:creationId xmlns:a16="http://schemas.microsoft.com/office/drawing/2014/main" id="{FDA19E55-AA5A-473D-8B85-14C9E7671283}"/>
              </a:ext>
            </a:extLst>
          </p:cNvPr>
          <p:cNvSpPr/>
          <p:nvPr/>
        </p:nvSpPr>
        <p:spPr>
          <a:xfrm>
            <a:off x="7098838" y="3805133"/>
            <a:ext cx="2391237" cy="889911"/>
          </a:xfrm>
          <a:custGeom>
            <a:avLst/>
            <a:gdLst>
              <a:gd name="connsiteX0" fmla="*/ 1199520 w 2391237"/>
              <a:gd name="connsiteY0" fmla="*/ 0 h 889911"/>
              <a:gd name="connsiteX1" fmla="*/ 2153423 w 2391237"/>
              <a:gd name="connsiteY1" fmla="*/ 731939 h 889911"/>
              <a:gd name="connsiteX2" fmla="*/ 2381144 w 2391237"/>
              <a:gd name="connsiteY2" fmla="*/ 880482 h 889911"/>
              <a:gd name="connsiteX3" fmla="*/ 2391237 w 2391237"/>
              <a:gd name="connsiteY3" fmla="*/ 885800 h 889911"/>
              <a:gd name="connsiteX4" fmla="*/ 2391237 w 2391237"/>
              <a:gd name="connsiteY4" fmla="*/ 889911 h 889911"/>
              <a:gd name="connsiteX5" fmla="*/ 1199520 w 2391237"/>
              <a:gd name="connsiteY5" fmla="*/ 889911 h 889911"/>
              <a:gd name="connsiteX6" fmla="*/ 0 w 2391237"/>
              <a:gd name="connsiteY6" fmla="*/ 889911 h 889911"/>
              <a:gd name="connsiteX7" fmla="*/ 245616 w 2391237"/>
              <a:gd name="connsiteY7" fmla="*/ 731939 h 889911"/>
              <a:gd name="connsiteX8" fmla="*/ 1199520 w 2391237"/>
              <a:gd name="connsiteY8" fmla="*/ 0 h 88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1237" h="889911">
                <a:moveTo>
                  <a:pt x="1199520" y="0"/>
                </a:moveTo>
                <a:cubicBezTo>
                  <a:pt x="1679327" y="0"/>
                  <a:pt x="1917232" y="556063"/>
                  <a:pt x="2153423" y="731939"/>
                </a:cubicBezTo>
                <a:cubicBezTo>
                  <a:pt x="2262665" y="813295"/>
                  <a:pt x="2346203" y="861476"/>
                  <a:pt x="2381144" y="880482"/>
                </a:cubicBezTo>
                <a:lnTo>
                  <a:pt x="2391237" y="885800"/>
                </a:lnTo>
                <a:lnTo>
                  <a:pt x="2391237" y="889911"/>
                </a:lnTo>
                <a:lnTo>
                  <a:pt x="1199520" y="889911"/>
                </a:lnTo>
                <a:lnTo>
                  <a:pt x="0" y="889911"/>
                </a:lnTo>
                <a:cubicBezTo>
                  <a:pt x="0" y="889911"/>
                  <a:pt x="99960" y="840413"/>
                  <a:pt x="245616" y="731939"/>
                </a:cubicBezTo>
                <a:cubicBezTo>
                  <a:pt x="481807" y="556063"/>
                  <a:pt x="719712" y="0"/>
                  <a:pt x="1199520" y="0"/>
                </a:cubicBezTo>
                <a:close/>
              </a:path>
            </a:pathLst>
          </a:custGeom>
          <a:solidFill>
            <a:srgbClr val="07AADB">
              <a:alpha val="50000"/>
            </a:srgbClr>
          </a:solidFill>
          <a:ln w="8108" cap="flat">
            <a:noFill/>
            <a:prstDash val="solid"/>
            <a:miter/>
          </a:ln>
        </p:spPr>
        <p:txBody>
          <a:bodyPr wrap="square" rtlCol="0" anchor="ctr">
            <a:noAutofit/>
          </a:bodyPr>
          <a:lstStyle/>
          <a:p>
            <a:endParaRPr lang="en-US" sz="1463"/>
          </a:p>
        </p:txBody>
      </p:sp>
      <p:sp>
        <p:nvSpPr>
          <p:cNvPr id="68" name="TextBox 67">
            <a:extLst>
              <a:ext uri="{FF2B5EF4-FFF2-40B4-BE49-F238E27FC236}">
                <a16:creationId xmlns:a16="http://schemas.microsoft.com/office/drawing/2014/main" id="{7E2D8C78-8723-4C49-BCD5-181055EDDC9C}"/>
              </a:ext>
            </a:extLst>
          </p:cNvPr>
          <p:cNvSpPr txBox="1"/>
          <p:nvPr/>
        </p:nvSpPr>
        <p:spPr>
          <a:xfrm>
            <a:off x="1249255" y="4101367"/>
            <a:ext cx="595492" cy="161583"/>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Strategy</a:t>
            </a:r>
          </a:p>
        </p:txBody>
      </p:sp>
      <p:sp>
        <p:nvSpPr>
          <p:cNvPr id="73" name="TextBox 72">
            <a:extLst>
              <a:ext uri="{FF2B5EF4-FFF2-40B4-BE49-F238E27FC236}">
                <a16:creationId xmlns:a16="http://schemas.microsoft.com/office/drawing/2014/main" id="{54BE46E4-60DF-4A07-984C-3E7F78A45D01}"/>
              </a:ext>
            </a:extLst>
          </p:cNvPr>
          <p:cNvSpPr txBox="1"/>
          <p:nvPr/>
        </p:nvSpPr>
        <p:spPr>
          <a:xfrm>
            <a:off x="2564388" y="3439259"/>
            <a:ext cx="951791" cy="161583"/>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Management</a:t>
            </a:r>
          </a:p>
        </p:txBody>
      </p:sp>
      <p:sp>
        <p:nvSpPr>
          <p:cNvPr id="83" name="TextBox 82">
            <a:extLst>
              <a:ext uri="{FF2B5EF4-FFF2-40B4-BE49-F238E27FC236}">
                <a16:creationId xmlns:a16="http://schemas.microsoft.com/office/drawing/2014/main" id="{AA568867-84B1-4C94-B78D-1E85D3B848C4}"/>
              </a:ext>
            </a:extLst>
          </p:cNvPr>
          <p:cNvSpPr txBox="1"/>
          <p:nvPr/>
        </p:nvSpPr>
        <p:spPr>
          <a:xfrm>
            <a:off x="4008406" y="3637395"/>
            <a:ext cx="699326" cy="403957"/>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Financial </a:t>
            </a:r>
          </a:p>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Advisory</a:t>
            </a:r>
          </a:p>
        </p:txBody>
      </p:sp>
      <p:sp>
        <p:nvSpPr>
          <p:cNvPr id="88" name="TextBox 87">
            <a:extLst>
              <a:ext uri="{FF2B5EF4-FFF2-40B4-BE49-F238E27FC236}">
                <a16:creationId xmlns:a16="http://schemas.microsoft.com/office/drawing/2014/main" id="{C444CE2A-2119-46A6-8DF0-3F02D700F484}"/>
              </a:ext>
            </a:extLst>
          </p:cNvPr>
          <p:cNvSpPr txBox="1"/>
          <p:nvPr/>
        </p:nvSpPr>
        <p:spPr>
          <a:xfrm>
            <a:off x="6842442" y="3747621"/>
            <a:ext cx="310338" cy="161583"/>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IT </a:t>
            </a:r>
          </a:p>
        </p:txBody>
      </p:sp>
      <p:sp>
        <p:nvSpPr>
          <p:cNvPr id="93" name="TextBox 92">
            <a:extLst>
              <a:ext uri="{FF2B5EF4-FFF2-40B4-BE49-F238E27FC236}">
                <a16:creationId xmlns:a16="http://schemas.microsoft.com/office/drawing/2014/main" id="{C672FA85-415B-4B9A-B97F-093768B69B87}"/>
              </a:ext>
            </a:extLst>
          </p:cNvPr>
          <p:cNvSpPr txBox="1"/>
          <p:nvPr/>
        </p:nvSpPr>
        <p:spPr>
          <a:xfrm>
            <a:off x="7941375" y="4096200"/>
            <a:ext cx="855201" cy="161583"/>
          </a:xfrm>
          <a:prstGeom prst="rect">
            <a:avLst/>
          </a:prstGeom>
          <a:noFill/>
        </p:spPr>
        <p:txBody>
          <a:bodyPr wrap="square" lIns="0" tIns="0" rIns="0" bIns="0" rtlCol="0">
            <a:spAutoFit/>
          </a:bodyPr>
          <a:lstStyle/>
          <a:p>
            <a:pPr algn="ctr" eaLnBrk="0" fontAlgn="base" hangingPunct="0">
              <a:spcAft>
                <a:spcPct val="0"/>
              </a:spcAft>
            </a:pPr>
            <a:r>
              <a:rPr lang="en-GB" sz="1050" b="1" dirty="0">
                <a:solidFill>
                  <a:schemeClr val="bg1"/>
                </a:solidFill>
                <a:latin typeface="+mn-lt"/>
                <a:ea typeface="Open Sans" panose="020B0606030504020204" pitchFamily="34" charset="0"/>
                <a:cs typeface="Open Sans" panose="020B0606030504020204" pitchFamily="34" charset="0"/>
              </a:rPr>
              <a:t>Operations</a:t>
            </a:r>
          </a:p>
        </p:txBody>
      </p:sp>
      <p:sp>
        <p:nvSpPr>
          <p:cNvPr id="17" name="TextBox 16">
            <a:extLst>
              <a:ext uri="{FF2B5EF4-FFF2-40B4-BE49-F238E27FC236}">
                <a16:creationId xmlns:a16="http://schemas.microsoft.com/office/drawing/2014/main" id="{A5870370-E7C7-44DA-BC47-25102D0DDB10}"/>
              </a:ext>
            </a:extLst>
          </p:cNvPr>
          <p:cNvSpPr txBox="1"/>
          <p:nvPr/>
        </p:nvSpPr>
        <p:spPr>
          <a:xfrm>
            <a:off x="389404" y="4722255"/>
            <a:ext cx="1554480" cy="1554272"/>
          </a:xfrm>
          <a:prstGeom prst="rect">
            <a:avLst/>
          </a:prstGeom>
          <a:noFill/>
        </p:spPr>
        <p:txBody>
          <a:bodyPr wrap="square" rtlCol="0">
            <a:spAutoFit/>
          </a:bodyPr>
          <a:lstStyle/>
          <a:p>
            <a:pPr algn="l"/>
            <a:r>
              <a:rPr lang="en-GB" sz="1000" dirty="0">
                <a:latin typeface="+mn-lt"/>
              </a:rPr>
              <a:t>Strategy Consultants focus on strategic topics like corporate and organisational strategy, economic policy, government policy and functional strategy.</a:t>
            </a:r>
          </a:p>
          <a:p>
            <a:pPr algn="l"/>
            <a:endParaRPr lang="en-IN" sz="1000" dirty="0">
              <a:latin typeface="+mn-lt"/>
            </a:endParaRPr>
          </a:p>
        </p:txBody>
      </p:sp>
      <p:sp>
        <p:nvSpPr>
          <p:cNvPr id="4" name="TextBox 3">
            <a:extLst>
              <a:ext uri="{FF2B5EF4-FFF2-40B4-BE49-F238E27FC236}">
                <a16:creationId xmlns:a16="http://schemas.microsoft.com/office/drawing/2014/main" id="{C9273F01-1BB9-486F-A1BF-93E4565EA453}"/>
              </a:ext>
            </a:extLst>
          </p:cNvPr>
          <p:cNvSpPr txBox="1"/>
          <p:nvPr/>
        </p:nvSpPr>
        <p:spPr>
          <a:xfrm>
            <a:off x="1923355" y="4705699"/>
            <a:ext cx="1554480" cy="1477328"/>
          </a:xfrm>
          <a:prstGeom prst="rect">
            <a:avLst/>
          </a:prstGeom>
          <a:noFill/>
        </p:spPr>
        <p:txBody>
          <a:bodyPr wrap="square" rtlCol="0">
            <a:spAutoFit/>
          </a:bodyPr>
          <a:lstStyle/>
          <a:p>
            <a:pPr algn="l"/>
            <a:r>
              <a:rPr lang="en-GB" sz="1000" dirty="0">
                <a:latin typeface="+mn-lt"/>
              </a:rPr>
              <a:t>Management Consultants, are consultants who focus on all sorts of organisational concerns from strategy to a variety of elements within management</a:t>
            </a:r>
            <a:endParaRPr lang="en-IN" sz="1000" dirty="0">
              <a:latin typeface="+mn-lt"/>
            </a:endParaRPr>
          </a:p>
        </p:txBody>
      </p:sp>
      <p:sp>
        <p:nvSpPr>
          <p:cNvPr id="66" name="Rectangle 65">
            <a:extLst>
              <a:ext uri="{FF2B5EF4-FFF2-40B4-BE49-F238E27FC236}">
                <a16:creationId xmlns:a16="http://schemas.microsoft.com/office/drawing/2014/main" id="{A617B6EF-FFCB-4256-813F-2B0B5695C03D}"/>
              </a:ext>
            </a:extLst>
          </p:cNvPr>
          <p:cNvSpPr/>
          <p:nvPr/>
        </p:nvSpPr>
        <p:spPr>
          <a:xfrm>
            <a:off x="3510003" y="4722255"/>
            <a:ext cx="1554480" cy="1828800"/>
          </a:xfrm>
          <a:prstGeom prst="rect">
            <a:avLst/>
          </a:prstGeom>
        </p:spPr>
        <p:txBody>
          <a:bodyPr wrap="square" lIns="0" rIns="0">
            <a:noAutofit/>
          </a:bodyPr>
          <a:lstStyle/>
          <a:p>
            <a:pPr algn="l"/>
            <a:r>
              <a:rPr lang="en-GB" sz="1000" dirty="0">
                <a:latin typeface="+mn-lt"/>
              </a:rPr>
              <a:t>Financial Advisory Consultants address financial capabilities, and, in many cases, also the analytical capabilities within an organisation.</a:t>
            </a:r>
          </a:p>
        </p:txBody>
      </p:sp>
      <p:sp>
        <p:nvSpPr>
          <p:cNvPr id="71" name="Rectangle 70">
            <a:extLst>
              <a:ext uri="{FF2B5EF4-FFF2-40B4-BE49-F238E27FC236}">
                <a16:creationId xmlns:a16="http://schemas.microsoft.com/office/drawing/2014/main" id="{0ED45FB7-C422-4746-996D-171FF97C09A0}"/>
              </a:ext>
            </a:extLst>
          </p:cNvPr>
          <p:cNvSpPr/>
          <p:nvPr/>
        </p:nvSpPr>
        <p:spPr>
          <a:xfrm>
            <a:off x="5041058" y="4715540"/>
            <a:ext cx="1418967" cy="1828800"/>
          </a:xfrm>
          <a:prstGeom prst="rect">
            <a:avLst/>
          </a:prstGeom>
        </p:spPr>
        <p:txBody>
          <a:bodyPr wrap="square" lIns="0" rIns="0">
            <a:noAutofit/>
          </a:bodyPr>
          <a:lstStyle/>
          <a:p>
            <a:pPr algn="l"/>
            <a:r>
              <a:rPr lang="en-GB" sz="1000" dirty="0">
                <a:latin typeface="+mn-lt"/>
              </a:rPr>
              <a:t>HR consultants help clients with human capital questions within their organisations and / or with improving the performance of the HR department. o</a:t>
            </a:r>
          </a:p>
        </p:txBody>
      </p:sp>
      <p:sp>
        <p:nvSpPr>
          <p:cNvPr id="76" name="Rectangle 75">
            <a:extLst>
              <a:ext uri="{FF2B5EF4-FFF2-40B4-BE49-F238E27FC236}">
                <a16:creationId xmlns:a16="http://schemas.microsoft.com/office/drawing/2014/main" id="{5734EF82-A9D5-4996-AA74-43BC00171A98}"/>
              </a:ext>
            </a:extLst>
          </p:cNvPr>
          <p:cNvSpPr/>
          <p:nvPr/>
        </p:nvSpPr>
        <p:spPr>
          <a:xfrm>
            <a:off x="6575728" y="4715281"/>
            <a:ext cx="1408578" cy="1681729"/>
          </a:xfrm>
          <a:prstGeom prst="rect">
            <a:avLst/>
          </a:prstGeom>
        </p:spPr>
        <p:txBody>
          <a:bodyPr wrap="square" lIns="0" rIns="0">
            <a:noAutofit/>
          </a:bodyPr>
          <a:lstStyle/>
          <a:p>
            <a:pPr algn="l"/>
            <a:r>
              <a:rPr lang="en-GB" sz="1000" dirty="0">
                <a:latin typeface="+mn-lt"/>
              </a:rPr>
              <a:t>Technology consultants, also focus on helping clients with the development and application of Information Technology (IT) within their organisation. </a:t>
            </a:r>
          </a:p>
        </p:txBody>
      </p:sp>
      <p:sp>
        <p:nvSpPr>
          <p:cNvPr id="81" name="Rectangle 80">
            <a:extLst>
              <a:ext uri="{FF2B5EF4-FFF2-40B4-BE49-F238E27FC236}">
                <a16:creationId xmlns:a16="http://schemas.microsoft.com/office/drawing/2014/main" id="{B516ECE8-B69B-4104-987A-E9C740A10B0E}"/>
              </a:ext>
            </a:extLst>
          </p:cNvPr>
          <p:cNvSpPr/>
          <p:nvPr/>
        </p:nvSpPr>
        <p:spPr>
          <a:xfrm>
            <a:off x="8108823" y="4710466"/>
            <a:ext cx="1252435" cy="1828800"/>
          </a:xfrm>
          <a:prstGeom prst="rect">
            <a:avLst/>
          </a:prstGeom>
          <a:noFill/>
        </p:spPr>
        <p:txBody>
          <a:bodyPr wrap="square" lIns="0" rIns="0">
            <a:noAutofit/>
          </a:bodyPr>
          <a:lstStyle/>
          <a:p>
            <a:pPr algn="l"/>
            <a:r>
              <a:rPr lang="en-GB" sz="1000" dirty="0">
                <a:latin typeface="+mn-lt"/>
              </a:rPr>
              <a:t>Operations consultants are consultants who help clients improve the performance of their operations. </a:t>
            </a:r>
          </a:p>
        </p:txBody>
      </p:sp>
      <p:sp>
        <p:nvSpPr>
          <p:cNvPr id="86" name="Freeform: Shape 85">
            <a:extLst>
              <a:ext uri="{FF2B5EF4-FFF2-40B4-BE49-F238E27FC236}">
                <a16:creationId xmlns:a16="http://schemas.microsoft.com/office/drawing/2014/main" id="{7060E182-AEB6-41F3-AD74-0EAD3D8B1E28}"/>
              </a:ext>
            </a:extLst>
          </p:cNvPr>
          <p:cNvSpPr/>
          <p:nvPr/>
        </p:nvSpPr>
        <p:spPr>
          <a:xfrm>
            <a:off x="8157472" y="2288325"/>
            <a:ext cx="365760" cy="365760"/>
          </a:xfrm>
          <a:custGeom>
            <a:avLst/>
            <a:gdLst>
              <a:gd name="connsiteX0" fmla="*/ 336037 w 2209303"/>
              <a:gd name="connsiteY0" fmla="*/ 1942013 h 1945860"/>
              <a:gd name="connsiteX1" fmla="*/ 41540 w 2209303"/>
              <a:gd name="connsiteY1" fmla="*/ 1747925 h 1945860"/>
              <a:gd name="connsiteX2" fmla="*/ 882 w 2209303"/>
              <a:gd name="connsiteY2" fmla="*/ 1568598 h 1945860"/>
              <a:gd name="connsiteX3" fmla="*/ 274883 w 2209303"/>
              <a:gd name="connsiteY3" fmla="*/ 1250489 h 1945860"/>
              <a:gd name="connsiteX4" fmla="*/ 354015 w 2209303"/>
              <a:gd name="connsiteY4" fmla="*/ 1247232 h 1945860"/>
              <a:gd name="connsiteX5" fmla="*/ 353883 w 2209303"/>
              <a:gd name="connsiteY5" fmla="*/ 1284588 h 1945860"/>
              <a:gd name="connsiteX6" fmla="*/ 322575 w 2209303"/>
              <a:gd name="connsiteY6" fmla="*/ 1297062 h 1945860"/>
              <a:gd name="connsiteX7" fmla="*/ 256080 w 2209303"/>
              <a:gd name="connsiteY7" fmla="*/ 1320071 h 1945860"/>
              <a:gd name="connsiteX8" fmla="*/ 74803 w 2209303"/>
              <a:gd name="connsiteY8" fmla="*/ 1513987 h 1945860"/>
              <a:gd name="connsiteX9" fmla="*/ 74006 w 2209303"/>
              <a:gd name="connsiteY9" fmla="*/ 1662334 h 1945860"/>
              <a:gd name="connsiteX10" fmla="*/ 134364 w 2209303"/>
              <a:gd name="connsiteY10" fmla="*/ 1768577 h 1945860"/>
              <a:gd name="connsiteX11" fmla="*/ 146263 w 2209303"/>
              <a:gd name="connsiteY11" fmla="*/ 1747925 h 1945860"/>
              <a:gd name="connsiteX12" fmla="*/ 226217 w 2209303"/>
              <a:gd name="connsiteY12" fmla="*/ 1681046 h 1945860"/>
              <a:gd name="connsiteX13" fmla="*/ 256202 w 2209303"/>
              <a:gd name="connsiteY13" fmla="*/ 1668052 h 1945860"/>
              <a:gd name="connsiteX14" fmla="*/ 395872 w 2209303"/>
              <a:gd name="connsiteY14" fmla="*/ 1666873 h 1945860"/>
              <a:gd name="connsiteX15" fmla="*/ 560089 w 2209303"/>
              <a:gd name="connsiteY15" fmla="*/ 1671967 h 1945860"/>
              <a:gd name="connsiteX16" fmla="*/ 669359 w 2209303"/>
              <a:gd name="connsiteY16" fmla="*/ 1752638 h 1945860"/>
              <a:gd name="connsiteX17" fmla="*/ 678909 w 2209303"/>
              <a:gd name="connsiteY17" fmla="*/ 1770034 h 1945860"/>
              <a:gd name="connsiteX18" fmla="*/ 687455 w 2209303"/>
              <a:gd name="connsiteY18" fmla="*/ 1760885 h 1945860"/>
              <a:gd name="connsiteX19" fmla="*/ 738456 w 2209303"/>
              <a:gd name="connsiteY19" fmla="*/ 1658695 h 1945860"/>
              <a:gd name="connsiteX20" fmla="*/ 745650 w 2209303"/>
              <a:gd name="connsiteY20" fmla="*/ 1576916 h 1945860"/>
              <a:gd name="connsiteX21" fmla="*/ 730500 w 2209303"/>
              <a:gd name="connsiteY21" fmla="*/ 1493957 h 1945860"/>
              <a:gd name="connsiteX22" fmla="*/ 494111 w 2209303"/>
              <a:gd name="connsiteY22" fmla="*/ 1297929 h 1945860"/>
              <a:gd name="connsiteX23" fmla="*/ 451000 w 2209303"/>
              <a:gd name="connsiteY23" fmla="*/ 1260469 h 1945860"/>
              <a:gd name="connsiteX24" fmla="*/ 466528 w 2209303"/>
              <a:gd name="connsiteY24" fmla="*/ 1242866 h 1945860"/>
              <a:gd name="connsiteX25" fmla="*/ 477984 w 2209303"/>
              <a:gd name="connsiteY25" fmla="*/ 1235346 h 1945860"/>
              <a:gd name="connsiteX26" fmla="*/ 518268 w 2209303"/>
              <a:gd name="connsiteY26" fmla="*/ 1245534 h 1945860"/>
              <a:gd name="connsiteX27" fmla="*/ 805086 w 2209303"/>
              <a:gd name="connsiteY27" fmla="*/ 1521298 h 1945860"/>
              <a:gd name="connsiteX28" fmla="*/ 798453 w 2209303"/>
              <a:gd name="connsiteY28" fmla="*/ 1684581 h 1945860"/>
              <a:gd name="connsiteX29" fmla="*/ 506898 w 2209303"/>
              <a:gd name="connsiteY29" fmla="*/ 1936088 h 1945860"/>
              <a:gd name="connsiteX30" fmla="*/ 336037 w 2209303"/>
              <a:gd name="connsiteY30" fmla="*/ 1942013 h 1945860"/>
              <a:gd name="connsiteX31" fmla="*/ 491783 w 2209303"/>
              <a:gd name="connsiteY31" fmla="*/ 1880782 h 1945860"/>
              <a:gd name="connsiteX32" fmla="*/ 594354 w 2209303"/>
              <a:gd name="connsiteY32" fmla="*/ 1840482 h 1945860"/>
              <a:gd name="connsiteX33" fmla="*/ 621251 w 2209303"/>
              <a:gd name="connsiteY33" fmla="*/ 1811200 h 1945860"/>
              <a:gd name="connsiteX34" fmla="*/ 591939 w 2209303"/>
              <a:gd name="connsiteY34" fmla="*/ 1752187 h 1945860"/>
              <a:gd name="connsiteX35" fmla="*/ 558724 w 2209303"/>
              <a:gd name="connsiteY35" fmla="*/ 1732263 h 1945860"/>
              <a:gd name="connsiteX36" fmla="*/ 405408 w 2209303"/>
              <a:gd name="connsiteY36" fmla="*/ 1723321 h 1945860"/>
              <a:gd name="connsiteX37" fmla="*/ 255976 w 2209303"/>
              <a:gd name="connsiteY37" fmla="*/ 1730461 h 1945860"/>
              <a:gd name="connsiteX38" fmla="*/ 191322 w 2209303"/>
              <a:gd name="connsiteY38" fmla="*/ 1805829 h 1945860"/>
              <a:gd name="connsiteX39" fmla="*/ 207338 w 2209303"/>
              <a:gd name="connsiteY39" fmla="*/ 1833517 h 1945860"/>
              <a:gd name="connsiteX40" fmla="*/ 295054 w 2209303"/>
              <a:gd name="connsiteY40" fmla="*/ 1874233 h 1945860"/>
              <a:gd name="connsiteX41" fmla="*/ 491783 w 2209303"/>
              <a:gd name="connsiteY41" fmla="*/ 1880782 h 1945860"/>
              <a:gd name="connsiteX42" fmla="*/ 1746370 w 2209303"/>
              <a:gd name="connsiteY42" fmla="*/ 1944058 h 1945860"/>
              <a:gd name="connsiteX43" fmla="*/ 1547545 w 2209303"/>
              <a:gd name="connsiteY43" fmla="*/ 1866506 h 1945860"/>
              <a:gd name="connsiteX44" fmla="*/ 1410859 w 2209303"/>
              <a:gd name="connsiteY44" fmla="*/ 1683264 h 1945860"/>
              <a:gd name="connsiteX45" fmla="*/ 1401128 w 2209303"/>
              <a:gd name="connsiteY45" fmla="*/ 1588143 h 1945860"/>
              <a:gd name="connsiteX46" fmla="*/ 1413267 w 2209303"/>
              <a:gd name="connsiteY46" fmla="*/ 1489245 h 1945860"/>
              <a:gd name="connsiteX47" fmla="*/ 1699316 w 2209303"/>
              <a:gd name="connsiteY47" fmla="*/ 1243074 h 1945860"/>
              <a:gd name="connsiteX48" fmla="*/ 1804673 w 2209303"/>
              <a:gd name="connsiteY48" fmla="*/ 1234376 h 1945860"/>
              <a:gd name="connsiteX49" fmla="*/ 1910467 w 2209303"/>
              <a:gd name="connsiteY49" fmla="*/ 1243074 h 1945860"/>
              <a:gd name="connsiteX50" fmla="*/ 2167484 w 2209303"/>
              <a:gd name="connsiteY50" fmla="*/ 1432207 h 1945860"/>
              <a:gd name="connsiteX51" fmla="*/ 1894319 w 2209303"/>
              <a:gd name="connsiteY51" fmla="*/ 1938305 h 1945860"/>
              <a:gd name="connsiteX52" fmla="*/ 1746370 w 2209303"/>
              <a:gd name="connsiteY52" fmla="*/ 1944058 h 1945860"/>
              <a:gd name="connsiteX53" fmla="*/ 1888879 w 2209303"/>
              <a:gd name="connsiteY53" fmla="*/ 1881164 h 1945860"/>
              <a:gd name="connsiteX54" fmla="*/ 2002746 w 2209303"/>
              <a:gd name="connsiteY54" fmla="*/ 1833655 h 1945860"/>
              <a:gd name="connsiteX55" fmla="*/ 2018756 w 2209303"/>
              <a:gd name="connsiteY55" fmla="*/ 1805794 h 1945860"/>
              <a:gd name="connsiteX56" fmla="*/ 1978871 w 2209303"/>
              <a:gd name="connsiteY56" fmla="*/ 1743906 h 1945860"/>
              <a:gd name="connsiteX57" fmla="*/ 1803731 w 2209303"/>
              <a:gd name="connsiteY57" fmla="*/ 1723287 h 1945860"/>
              <a:gd name="connsiteX58" fmla="*/ 1653516 w 2209303"/>
              <a:gd name="connsiteY58" fmla="*/ 1731118 h 1945860"/>
              <a:gd name="connsiteX59" fmla="*/ 1621660 w 2209303"/>
              <a:gd name="connsiteY59" fmla="*/ 1749103 h 1945860"/>
              <a:gd name="connsiteX60" fmla="*/ 1588778 w 2209303"/>
              <a:gd name="connsiteY60" fmla="*/ 1811200 h 1945860"/>
              <a:gd name="connsiteX61" fmla="*/ 1615727 w 2209303"/>
              <a:gd name="connsiteY61" fmla="*/ 1840482 h 1945860"/>
              <a:gd name="connsiteX62" fmla="*/ 1720457 w 2209303"/>
              <a:gd name="connsiteY62" fmla="*/ 1880470 h 1945860"/>
              <a:gd name="connsiteX63" fmla="*/ 1759323 w 2209303"/>
              <a:gd name="connsiteY63" fmla="*/ 1888406 h 1945860"/>
              <a:gd name="connsiteX64" fmla="*/ 1888879 w 2209303"/>
              <a:gd name="connsiteY64" fmla="*/ 1881164 h 1945860"/>
              <a:gd name="connsiteX65" fmla="*/ 1540642 w 2209303"/>
              <a:gd name="connsiteY65" fmla="*/ 1752014 h 1945860"/>
              <a:gd name="connsiteX66" fmla="*/ 1649992 w 2209303"/>
              <a:gd name="connsiteY66" fmla="*/ 1671967 h 1945860"/>
              <a:gd name="connsiteX67" fmla="*/ 1814102 w 2209303"/>
              <a:gd name="connsiteY67" fmla="*/ 1666873 h 1945860"/>
              <a:gd name="connsiteX68" fmla="*/ 1953678 w 2209303"/>
              <a:gd name="connsiteY68" fmla="*/ 1668052 h 1945860"/>
              <a:gd name="connsiteX69" fmla="*/ 1982925 w 2209303"/>
              <a:gd name="connsiteY69" fmla="*/ 1680249 h 1945860"/>
              <a:gd name="connsiteX70" fmla="*/ 2063908 w 2209303"/>
              <a:gd name="connsiteY70" fmla="*/ 1748237 h 1945860"/>
              <a:gd name="connsiteX71" fmla="*/ 2075724 w 2209303"/>
              <a:gd name="connsiteY71" fmla="*/ 1768577 h 1945860"/>
              <a:gd name="connsiteX72" fmla="*/ 2136089 w 2209303"/>
              <a:gd name="connsiteY72" fmla="*/ 1662334 h 1945860"/>
              <a:gd name="connsiteX73" fmla="*/ 2135569 w 2209303"/>
              <a:gd name="connsiteY73" fmla="*/ 1514195 h 1945860"/>
              <a:gd name="connsiteX74" fmla="*/ 1946956 w 2209303"/>
              <a:gd name="connsiteY74" fmla="*/ 1316676 h 1945860"/>
              <a:gd name="connsiteX75" fmla="*/ 1801270 w 2209303"/>
              <a:gd name="connsiteY75" fmla="*/ 1289543 h 1945860"/>
              <a:gd name="connsiteX76" fmla="*/ 1539187 w 2209303"/>
              <a:gd name="connsiteY76" fmla="*/ 1398663 h 1945860"/>
              <a:gd name="connsiteX77" fmla="*/ 1495903 w 2209303"/>
              <a:gd name="connsiteY77" fmla="*/ 1718748 h 1945860"/>
              <a:gd name="connsiteX78" fmla="*/ 1530527 w 2209303"/>
              <a:gd name="connsiteY78" fmla="*/ 1768856 h 1945860"/>
              <a:gd name="connsiteX79" fmla="*/ 1540642 w 2209303"/>
              <a:gd name="connsiteY79" fmla="*/ 1752014 h 1945860"/>
              <a:gd name="connsiteX80" fmla="*/ 1758402 w 2209303"/>
              <a:gd name="connsiteY80" fmla="*/ 1611395 h 1945860"/>
              <a:gd name="connsiteX81" fmla="*/ 1646578 w 2209303"/>
              <a:gd name="connsiteY81" fmla="*/ 1489973 h 1945860"/>
              <a:gd name="connsiteX82" fmla="*/ 1706472 w 2209303"/>
              <a:gd name="connsiteY82" fmla="*/ 1369001 h 1945860"/>
              <a:gd name="connsiteX83" fmla="*/ 1802511 w 2209303"/>
              <a:gd name="connsiteY83" fmla="*/ 1341175 h 1945860"/>
              <a:gd name="connsiteX84" fmla="*/ 1868253 w 2209303"/>
              <a:gd name="connsiteY84" fmla="*/ 1351848 h 1945860"/>
              <a:gd name="connsiteX85" fmla="*/ 1948515 w 2209303"/>
              <a:gd name="connsiteY85" fmla="*/ 1421742 h 1945860"/>
              <a:gd name="connsiteX86" fmla="*/ 1957975 w 2209303"/>
              <a:gd name="connsiteY86" fmla="*/ 1477844 h 1945860"/>
              <a:gd name="connsiteX87" fmla="*/ 1946817 w 2209303"/>
              <a:gd name="connsiteY87" fmla="*/ 1536787 h 1945860"/>
              <a:gd name="connsiteX88" fmla="*/ 1871895 w 2209303"/>
              <a:gd name="connsiteY88" fmla="*/ 1603424 h 1945860"/>
              <a:gd name="connsiteX89" fmla="*/ 1758402 w 2209303"/>
              <a:gd name="connsiteY89" fmla="*/ 1611395 h 1945860"/>
              <a:gd name="connsiteX90" fmla="*/ 1848176 w 2209303"/>
              <a:gd name="connsiteY90" fmla="*/ 1549609 h 1945860"/>
              <a:gd name="connsiteX91" fmla="*/ 1894631 w 2209303"/>
              <a:gd name="connsiteY91" fmla="*/ 1483666 h 1945860"/>
              <a:gd name="connsiteX92" fmla="*/ 1887562 w 2209303"/>
              <a:gd name="connsiteY92" fmla="*/ 1443260 h 1945860"/>
              <a:gd name="connsiteX93" fmla="*/ 1745736 w 2209303"/>
              <a:gd name="connsiteY93" fmla="*/ 1413598 h 1945860"/>
              <a:gd name="connsiteX94" fmla="*/ 1709660 w 2209303"/>
              <a:gd name="connsiteY94" fmla="*/ 1475280 h 1945860"/>
              <a:gd name="connsiteX95" fmla="*/ 1848176 w 2209303"/>
              <a:gd name="connsiteY95" fmla="*/ 1549609 h 1945860"/>
              <a:gd name="connsiteX96" fmla="*/ 355412 w 2209303"/>
              <a:gd name="connsiteY96" fmla="*/ 1609973 h 1945860"/>
              <a:gd name="connsiteX97" fmla="*/ 256101 w 2209303"/>
              <a:gd name="connsiteY97" fmla="*/ 1520744 h 1945860"/>
              <a:gd name="connsiteX98" fmla="*/ 261888 w 2209303"/>
              <a:gd name="connsiteY98" fmla="*/ 1421742 h 1945860"/>
              <a:gd name="connsiteX99" fmla="*/ 341828 w 2209303"/>
              <a:gd name="connsiteY99" fmla="*/ 1351848 h 1945860"/>
              <a:gd name="connsiteX100" fmla="*/ 407570 w 2209303"/>
              <a:gd name="connsiteY100" fmla="*/ 1341175 h 1945860"/>
              <a:gd name="connsiteX101" fmla="*/ 467890 w 2209303"/>
              <a:gd name="connsiteY101" fmla="*/ 1349977 h 1945860"/>
              <a:gd name="connsiteX102" fmla="*/ 475974 w 2209303"/>
              <a:gd name="connsiteY102" fmla="*/ 1602038 h 1945860"/>
              <a:gd name="connsiteX103" fmla="*/ 355412 w 2209303"/>
              <a:gd name="connsiteY103" fmla="*/ 1609973 h 1945860"/>
              <a:gd name="connsiteX104" fmla="*/ 447237 w 2209303"/>
              <a:gd name="connsiteY104" fmla="*/ 1551689 h 1945860"/>
              <a:gd name="connsiteX105" fmla="*/ 448880 w 2209303"/>
              <a:gd name="connsiteY105" fmla="*/ 1406529 h 1945860"/>
              <a:gd name="connsiteX106" fmla="*/ 322512 w 2209303"/>
              <a:gd name="connsiteY106" fmla="*/ 1443260 h 1945860"/>
              <a:gd name="connsiteX107" fmla="*/ 327780 w 2209303"/>
              <a:gd name="connsiteY107" fmla="*/ 1523239 h 1945860"/>
              <a:gd name="connsiteX108" fmla="*/ 447237 w 2209303"/>
              <a:gd name="connsiteY108" fmla="*/ 1551689 h 1945860"/>
              <a:gd name="connsiteX109" fmla="*/ 881130 w 2209303"/>
              <a:gd name="connsiteY109" fmla="*/ 1610043 h 1945860"/>
              <a:gd name="connsiteX110" fmla="*/ 869414 w 2209303"/>
              <a:gd name="connsiteY110" fmla="*/ 1592994 h 1945860"/>
              <a:gd name="connsiteX111" fmla="*/ 879696 w 2209303"/>
              <a:gd name="connsiteY111" fmla="*/ 1571128 h 1945860"/>
              <a:gd name="connsiteX112" fmla="*/ 892760 w 2209303"/>
              <a:gd name="connsiteY112" fmla="*/ 1559623 h 1945860"/>
              <a:gd name="connsiteX113" fmla="*/ 1105041 w 2209303"/>
              <a:gd name="connsiteY113" fmla="*/ 1559623 h 1945860"/>
              <a:gd name="connsiteX114" fmla="*/ 1317321 w 2209303"/>
              <a:gd name="connsiteY114" fmla="*/ 1559623 h 1945860"/>
              <a:gd name="connsiteX115" fmla="*/ 1330385 w 2209303"/>
              <a:gd name="connsiteY115" fmla="*/ 1571128 h 1945860"/>
              <a:gd name="connsiteX116" fmla="*/ 1340667 w 2209303"/>
              <a:gd name="connsiteY116" fmla="*/ 1592994 h 1945860"/>
              <a:gd name="connsiteX117" fmla="*/ 1328951 w 2209303"/>
              <a:gd name="connsiteY117" fmla="*/ 1610043 h 1945860"/>
              <a:gd name="connsiteX118" fmla="*/ 1105041 w 2209303"/>
              <a:gd name="connsiteY118" fmla="*/ 1616696 h 1945860"/>
              <a:gd name="connsiteX119" fmla="*/ 881130 w 2209303"/>
              <a:gd name="connsiteY119" fmla="*/ 1610043 h 1945860"/>
              <a:gd name="connsiteX120" fmla="*/ 1028618 w 2209303"/>
              <a:gd name="connsiteY120" fmla="*/ 1320280 h 1945860"/>
              <a:gd name="connsiteX121" fmla="*/ 998075 w 2209303"/>
              <a:gd name="connsiteY121" fmla="*/ 1258910 h 1945860"/>
              <a:gd name="connsiteX122" fmla="*/ 987299 w 2209303"/>
              <a:gd name="connsiteY122" fmla="*/ 1220550 h 1945860"/>
              <a:gd name="connsiteX123" fmla="*/ 952050 w 2209303"/>
              <a:gd name="connsiteY123" fmla="*/ 1239817 h 1945860"/>
              <a:gd name="connsiteX124" fmla="*/ 821071 w 2209303"/>
              <a:gd name="connsiteY124" fmla="*/ 1223946 h 1945860"/>
              <a:gd name="connsiteX125" fmla="*/ 803128 w 2209303"/>
              <a:gd name="connsiteY125" fmla="*/ 1108519 h 1945860"/>
              <a:gd name="connsiteX126" fmla="*/ 824605 w 2209303"/>
              <a:gd name="connsiteY126" fmla="*/ 1076985 h 1945860"/>
              <a:gd name="connsiteX127" fmla="*/ 792860 w 2209303"/>
              <a:gd name="connsiteY127" fmla="*/ 1068841 h 1945860"/>
              <a:gd name="connsiteX128" fmla="*/ 718895 w 2209303"/>
              <a:gd name="connsiteY128" fmla="*/ 1050095 h 1945860"/>
              <a:gd name="connsiteX129" fmla="*/ 705560 w 2209303"/>
              <a:gd name="connsiteY129" fmla="*/ 1038347 h 1945860"/>
              <a:gd name="connsiteX130" fmla="*/ 705560 w 2209303"/>
              <a:gd name="connsiteY130" fmla="*/ 973825 h 1945860"/>
              <a:gd name="connsiteX131" fmla="*/ 705560 w 2209303"/>
              <a:gd name="connsiteY131" fmla="*/ 909302 h 1945860"/>
              <a:gd name="connsiteX132" fmla="*/ 718895 w 2209303"/>
              <a:gd name="connsiteY132" fmla="*/ 897554 h 1945860"/>
              <a:gd name="connsiteX133" fmla="*/ 792860 w 2209303"/>
              <a:gd name="connsiteY133" fmla="*/ 878807 h 1945860"/>
              <a:gd name="connsiteX134" fmla="*/ 824605 w 2209303"/>
              <a:gd name="connsiteY134" fmla="*/ 870664 h 1945860"/>
              <a:gd name="connsiteX135" fmla="*/ 803128 w 2209303"/>
              <a:gd name="connsiteY135" fmla="*/ 839130 h 1945860"/>
              <a:gd name="connsiteX136" fmla="*/ 821147 w 2209303"/>
              <a:gd name="connsiteY136" fmla="*/ 723634 h 1945860"/>
              <a:gd name="connsiteX137" fmla="*/ 952126 w 2209303"/>
              <a:gd name="connsiteY137" fmla="*/ 707902 h 1945860"/>
              <a:gd name="connsiteX138" fmla="*/ 987299 w 2209303"/>
              <a:gd name="connsiteY138" fmla="*/ 727099 h 1945860"/>
              <a:gd name="connsiteX139" fmla="*/ 998075 w 2209303"/>
              <a:gd name="connsiteY139" fmla="*/ 688739 h 1945860"/>
              <a:gd name="connsiteX140" fmla="*/ 1028618 w 2209303"/>
              <a:gd name="connsiteY140" fmla="*/ 627335 h 1945860"/>
              <a:gd name="connsiteX141" fmla="*/ 1110367 w 2209303"/>
              <a:gd name="connsiteY141" fmla="*/ 620890 h 1945860"/>
              <a:gd name="connsiteX142" fmla="*/ 1178317 w 2209303"/>
              <a:gd name="connsiteY142" fmla="*/ 621964 h 1945860"/>
              <a:gd name="connsiteX143" fmla="*/ 1191640 w 2209303"/>
              <a:gd name="connsiteY143" fmla="*/ 633711 h 1945860"/>
              <a:gd name="connsiteX144" fmla="*/ 1212907 w 2209303"/>
              <a:gd name="connsiteY144" fmla="*/ 698858 h 1945860"/>
              <a:gd name="connsiteX145" fmla="*/ 1222173 w 2209303"/>
              <a:gd name="connsiteY145" fmla="*/ 726822 h 1945860"/>
              <a:gd name="connsiteX146" fmla="*/ 1258031 w 2209303"/>
              <a:gd name="connsiteY146" fmla="*/ 707832 h 1945860"/>
              <a:gd name="connsiteX147" fmla="*/ 1389010 w 2209303"/>
              <a:gd name="connsiteY147" fmla="*/ 723703 h 1945860"/>
              <a:gd name="connsiteX148" fmla="*/ 1406953 w 2209303"/>
              <a:gd name="connsiteY148" fmla="*/ 839130 h 1945860"/>
              <a:gd name="connsiteX149" fmla="*/ 1385476 w 2209303"/>
              <a:gd name="connsiteY149" fmla="*/ 870664 h 1945860"/>
              <a:gd name="connsiteX150" fmla="*/ 1417221 w 2209303"/>
              <a:gd name="connsiteY150" fmla="*/ 878807 h 1945860"/>
              <a:gd name="connsiteX151" fmla="*/ 1491186 w 2209303"/>
              <a:gd name="connsiteY151" fmla="*/ 897554 h 1945860"/>
              <a:gd name="connsiteX152" fmla="*/ 1504521 w 2209303"/>
              <a:gd name="connsiteY152" fmla="*/ 909267 h 1945860"/>
              <a:gd name="connsiteX153" fmla="*/ 1505747 w 2209303"/>
              <a:gd name="connsiteY153" fmla="*/ 969112 h 1945860"/>
              <a:gd name="connsiteX154" fmla="*/ 1498398 w 2209303"/>
              <a:gd name="connsiteY154" fmla="*/ 1041120 h 1945860"/>
              <a:gd name="connsiteX155" fmla="*/ 1428694 w 2209303"/>
              <a:gd name="connsiteY155" fmla="*/ 1068045 h 1945860"/>
              <a:gd name="connsiteX156" fmla="*/ 1385150 w 2209303"/>
              <a:gd name="connsiteY156" fmla="*/ 1077539 h 1945860"/>
              <a:gd name="connsiteX157" fmla="*/ 1406953 w 2209303"/>
              <a:gd name="connsiteY157" fmla="*/ 1108519 h 1945860"/>
              <a:gd name="connsiteX158" fmla="*/ 1389010 w 2209303"/>
              <a:gd name="connsiteY158" fmla="*/ 1223946 h 1945860"/>
              <a:gd name="connsiteX159" fmla="*/ 1258031 w 2209303"/>
              <a:gd name="connsiteY159" fmla="*/ 1239817 h 1945860"/>
              <a:gd name="connsiteX160" fmla="*/ 1222173 w 2209303"/>
              <a:gd name="connsiteY160" fmla="*/ 1220827 h 1945860"/>
              <a:gd name="connsiteX161" fmla="*/ 1212907 w 2209303"/>
              <a:gd name="connsiteY161" fmla="*/ 1248791 h 1945860"/>
              <a:gd name="connsiteX162" fmla="*/ 1191640 w 2209303"/>
              <a:gd name="connsiteY162" fmla="*/ 1313938 h 1945860"/>
              <a:gd name="connsiteX163" fmla="*/ 1178317 w 2209303"/>
              <a:gd name="connsiteY163" fmla="*/ 1325686 h 1945860"/>
              <a:gd name="connsiteX164" fmla="*/ 1110367 w 2209303"/>
              <a:gd name="connsiteY164" fmla="*/ 1326759 h 1945860"/>
              <a:gd name="connsiteX165" fmla="*/ 1028618 w 2209303"/>
              <a:gd name="connsiteY165" fmla="*/ 1320280 h 1945860"/>
              <a:gd name="connsiteX166" fmla="*/ 1148228 w 2209303"/>
              <a:gd name="connsiteY166" fmla="*/ 1236594 h 1945860"/>
              <a:gd name="connsiteX167" fmla="*/ 1159954 w 2209303"/>
              <a:gd name="connsiteY167" fmla="*/ 1190368 h 1945860"/>
              <a:gd name="connsiteX168" fmla="*/ 1232849 w 2209303"/>
              <a:gd name="connsiteY168" fmla="*/ 1160219 h 1945860"/>
              <a:gd name="connsiteX169" fmla="*/ 1290864 w 2209303"/>
              <a:gd name="connsiteY169" fmla="*/ 1189155 h 1945860"/>
              <a:gd name="connsiteX170" fmla="*/ 1314740 w 2209303"/>
              <a:gd name="connsiteY170" fmla="*/ 1209668 h 1945860"/>
              <a:gd name="connsiteX171" fmla="*/ 1343796 w 2209303"/>
              <a:gd name="connsiteY171" fmla="*/ 1183853 h 1945860"/>
              <a:gd name="connsiteX172" fmla="*/ 1372855 w 2209303"/>
              <a:gd name="connsiteY172" fmla="*/ 1158072 h 1945860"/>
              <a:gd name="connsiteX173" fmla="*/ 1350896 w 2209303"/>
              <a:gd name="connsiteY173" fmla="*/ 1139186 h 1945860"/>
              <a:gd name="connsiteX174" fmla="*/ 1316656 w 2209303"/>
              <a:gd name="connsiteY174" fmla="*/ 1086341 h 1945860"/>
              <a:gd name="connsiteX175" fmla="*/ 1350889 w 2209303"/>
              <a:gd name="connsiteY175" fmla="*/ 1022199 h 1945860"/>
              <a:gd name="connsiteX176" fmla="*/ 1403363 w 2209303"/>
              <a:gd name="connsiteY176" fmla="*/ 1011873 h 1945860"/>
              <a:gd name="connsiteX177" fmla="*/ 1441900 w 2209303"/>
              <a:gd name="connsiteY177" fmla="*/ 1011873 h 1945860"/>
              <a:gd name="connsiteX178" fmla="*/ 1441900 w 2209303"/>
              <a:gd name="connsiteY178" fmla="*/ 973825 h 1945860"/>
              <a:gd name="connsiteX179" fmla="*/ 1441900 w 2209303"/>
              <a:gd name="connsiteY179" fmla="*/ 935776 h 1945860"/>
              <a:gd name="connsiteX180" fmla="*/ 1403363 w 2209303"/>
              <a:gd name="connsiteY180" fmla="*/ 935776 h 1945860"/>
              <a:gd name="connsiteX181" fmla="*/ 1350889 w 2209303"/>
              <a:gd name="connsiteY181" fmla="*/ 925450 h 1945860"/>
              <a:gd name="connsiteX182" fmla="*/ 1316656 w 2209303"/>
              <a:gd name="connsiteY182" fmla="*/ 861239 h 1945860"/>
              <a:gd name="connsiteX183" fmla="*/ 1349534 w 2209303"/>
              <a:gd name="connsiteY183" fmla="*/ 810161 h 1945860"/>
              <a:gd name="connsiteX184" fmla="*/ 1372793 w 2209303"/>
              <a:gd name="connsiteY184" fmla="*/ 789127 h 1945860"/>
              <a:gd name="connsiteX185" fmla="*/ 1343508 w 2209303"/>
              <a:gd name="connsiteY185" fmla="*/ 763519 h 1945860"/>
              <a:gd name="connsiteX186" fmla="*/ 1314227 w 2209303"/>
              <a:gd name="connsiteY186" fmla="*/ 737911 h 1945860"/>
              <a:gd name="connsiteX187" fmla="*/ 1292770 w 2209303"/>
              <a:gd name="connsiteY187" fmla="*/ 757281 h 1945860"/>
              <a:gd name="connsiteX188" fmla="*/ 1232780 w 2209303"/>
              <a:gd name="connsiteY188" fmla="*/ 787429 h 1945860"/>
              <a:gd name="connsiteX189" fmla="*/ 1159954 w 2209303"/>
              <a:gd name="connsiteY189" fmla="*/ 757281 h 1945860"/>
              <a:gd name="connsiteX190" fmla="*/ 1148228 w 2209303"/>
              <a:gd name="connsiteY190" fmla="*/ 711055 h 1945860"/>
              <a:gd name="connsiteX191" fmla="*/ 1148228 w 2209303"/>
              <a:gd name="connsiteY191" fmla="*/ 677096 h 1945860"/>
              <a:gd name="connsiteX192" fmla="*/ 1105041 w 2209303"/>
              <a:gd name="connsiteY192" fmla="*/ 677096 h 1945860"/>
              <a:gd name="connsiteX193" fmla="*/ 1061853 w 2209303"/>
              <a:gd name="connsiteY193" fmla="*/ 677096 h 1945860"/>
              <a:gd name="connsiteX194" fmla="*/ 1061853 w 2209303"/>
              <a:gd name="connsiteY194" fmla="*/ 711055 h 1945860"/>
              <a:gd name="connsiteX195" fmla="*/ 1050127 w 2209303"/>
              <a:gd name="connsiteY195" fmla="*/ 757281 h 1945860"/>
              <a:gd name="connsiteX196" fmla="*/ 977301 w 2209303"/>
              <a:gd name="connsiteY196" fmla="*/ 787429 h 1945860"/>
              <a:gd name="connsiteX197" fmla="*/ 917311 w 2209303"/>
              <a:gd name="connsiteY197" fmla="*/ 757281 h 1945860"/>
              <a:gd name="connsiteX198" fmla="*/ 895854 w 2209303"/>
              <a:gd name="connsiteY198" fmla="*/ 737911 h 1945860"/>
              <a:gd name="connsiteX199" fmla="*/ 866573 w 2209303"/>
              <a:gd name="connsiteY199" fmla="*/ 763519 h 1945860"/>
              <a:gd name="connsiteX200" fmla="*/ 837288 w 2209303"/>
              <a:gd name="connsiteY200" fmla="*/ 789127 h 1945860"/>
              <a:gd name="connsiteX201" fmla="*/ 860547 w 2209303"/>
              <a:gd name="connsiteY201" fmla="*/ 810161 h 1945860"/>
              <a:gd name="connsiteX202" fmla="*/ 893425 w 2209303"/>
              <a:gd name="connsiteY202" fmla="*/ 861239 h 1945860"/>
              <a:gd name="connsiteX203" fmla="*/ 859192 w 2209303"/>
              <a:gd name="connsiteY203" fmla="*/ 925450 h 1945860"/>
              <a:gd name="connsiteX204" fmla="*/ 806718 w 2209303"/>
              <a:gd name="connsiteY204" fmla="*/ 935776 h 1945860"/>
              <a:gd name="connsiteX205" fmla="*/ 768181 w 2209303"/>
              <a:gd name="connsiteY205" fmla="*/ 935776 h 1945860"/>
              <a:gd name="connsiteX206" fmla="*/ 768181 w 2209303"/>
              <a:gd name="connsiteY206" fmla="*/ 973825 h 1945860"/>
              <a:gd name="connsiteX207" fmla="*/ 768181 w 2209303"/>
              <a:gd name="connsiteY207" fmla="*/ 1011873 h 1945860"/>
              <a:gd name="connsiteX208" fmla="*/ 806718 w 2209303"/>
              <a:gd name="connsiteY208" fmla="*/ 1011873 h 1945860"/>
              <a:gd name="connsiteX209" fmla="*/ 859192 w 2209303"/>
              <a:gd name="connsiteY209" fmla="*/ 1022199 h 1945860"/>
              <a:gd name="connsiteX210" fmla="*/ 893425 w 2209303"/>
              <a:gd name="connsiteY210" fmla="*/ 1086411 h 1945860"/>
              <a:gd name="connsiteX211" fmla="*/ 860547 w 2209303"/>
              <a:gd name="connsiteY211" fmla="*/ 1137488 h 1945860"/>
              <a:gd name="connsiteX212" fmla="*/ 837288 w 2209303"/>
              <a:gd name="connsiteY212" fmla="*/ 1158522 h 1945860"/>
              <a:gd name="connsiteX213" fmla="*/ 866573 w 2209303"/>
              <a:gd name="connsiteY213" fmla="*/ 1184130 h 1945860"/>
              <a:gd name="connsiteX214" fmla="*/ 895854 w 2209303"/>
              <a:gd name="connsiteY214" fmla="*/ 1209703 h 1945860"/>
              <a:gd name="connsiteX215" fmla="*/ 917311 w 2209303"/>
              <a:gd name="connsiteY215" fmla="*/ 1190368 h 1945860"/>
              <a:gd name="connsiteX216" fmla="*/ 977301 w 2209303"/>
              <a:gd name="connsiteY216" fmla="*/ 1160219 h 1945860"/>
              <a:gd name="connsiteX217" fmla="*/ 1050127 w 2209303"/>
              <a:gd name="connsiteY217" fmla="*/ 1190368 h 1945860"/>
              <a:gd name="connsiteX218" fmla="*/ 1061853 w 2209303"/>
              <a:gd name="connsiteY218" fmla="*/ 1236594 h 1945860"/>
              <a:gd name="connsiteX219" fmla="*/ 1061853 w 2209303"/>
              <a:gd name="connsiteY219" fmla="*/ 1270519 h 1945860"/>
              <a:gd name="connsiteX220" fmla="*/ 1105041 w 2209303"/>
              <a:gd name="connsiteY220" fmla="*/ 1270519 h 1945860"/>
              <a:gd name="connsiteX221" fmla="*/ 1148228 w 2209303"/>
              <a:gd name="connsiteY221" fmla="*/ 1270519 h 1945860"/>
              <a:gd name="connsiteX222" fmla="*/ 1064522 w 2209303"/>
              <a:gd name="connsiteY222" fmla="*/ 1121998 h 1945860"/>
              <a:gd name="connsiteX223" fmla="*/ 979419 w 2209303"/>
              <a:gd name="connsiteY223" fmla="*/ 1077609 h 1945860"/>
              <a:gd name="connsiteX224" fmla="*/ 948117 w 2209303"/>
              <a:gd name="connsiteY224" fmla="*/ 1035367 h 1945860"/>
              <a:gd name="connsiteX225" fmla="*/ 934450 w 2209303"/>
              <a:gd name="connsiteY225" fmla="*/ 973617 h 1945860"/>
              <a:gd name="connsiteX226" fmla="*/ 950581 w 2209303"/>
              <a:gd name="connsiteY226" fmla="*/ 908539 h 1945860"/>
              <a:gd name="connsiteX227" fmla="*/ 1035164 w 2209303"/>
              <a:gd name="connsiteY227" fmla="*/ 835596 h 1945860"/>
              <a:gd name="connsiteX228" fmla="*/ 1105041 w 2209303"/>
              <a:gd name="connsiteY228" fmla="*/ 823572 h 1945860"/>
              <a:gd name="connsiteX229" fmla="*/ 1174917 w 2209303"/>
              <a:gd name="connsiteY229" fmla="*/ 835596 h 1945860"/>
              <a:gd name="connsiteX230" fmla="*/ 1259500 w 2209303"/>
              <a:gd name="connsiteY230" fmla="*/ 908539 h 1945860"/>
              <a:gd name="connsiteX231" fmla="*/ 1275631 w 2209303"/>
              <a:gd name="connsiteY231" fmla="*/ 973825 h 1945860"/>
              <a:gd name="connsiteX232" fmla="*/ 1259500 w 2209303"/>
              <a:gd name="connsiteY232" fmla="*/ 1039110 h 1945860"/>
              <a:gd name="connsiteX233" fmla="*/ 1114754 w 2209303"/>
              <a:gd name="connsiteY233" fmla="*/ 1124285 h 1945860"/>
              <a:gd name="connsiteX234" fmla="*/ 1064522 w 2209303"/>
              <a:gd name="connsiteY234" fmla="*/ 1121998 h 1945860"/>
              <a:gd name="connsiteX235" fmla="*/ 1160336 w 2209303"/>
              <a:gd name="connsiteY235" fmla="*/ 1054980 h 1945860"/>
              <a:gd name="connsiteX236" fmla="*/ 1162841 w 2209303"/>
              <a:gd name="connsiteY236" fmla="*/ 894055 h 1945860"/>
              <a:gd name="connsiteX237" fmla="*/ 1012314 w 2209303"/>
              <a:gd name="connsiteY237" fmla="*/ 925970 h 1945860"/>
              <a:gd name="connsiteX238" fmla="*/ 999233 w 2209303"/>
              <a:gd name="connsiteY238" fmla="*/ 973513 h 1945860"/>
              <a:gd name="connsiteX239" fmla="*/ 1011205 w 2209303"/>
              <a:gd name="connsiteY239" fmla="*/ 1020294 h 1945860"/>
              <a:gd name="connsiteX240" fmla="*/ 1112830 w 2209303"/>
              <a:gd name="connsiteY240" fmla="*/ 1067490 h 1945860"/>
              <a:gd name="connsiteX241" fmla="*/ 1160336 w 2209303"/>
              <a:gd name="connsiteY241" fmla="*/ 1054980 h 1945860"/>
              <a:gd name="connsiteX242" fmla="*/ 393817 w 2209303"/>
              <a:gd name="connsiteY242" fmla="*/ 1179209 h 1945860"/>
              <a:gd name="connsiteX243" fmla="*/ 379779 w 2209303"/>
              <a:gd name="connsiteY243" fmla="*/ 1168293 h 1945860"/>
              <a:gd name="connsiteX244" fmla="*/ 375177 w 2209303"/>
              <a:gd name="connsiteY244" fmla="*/ 972577 h 1945860"/>
              <a:gd name="connsiteX245" fmla="*/ 382735 w 2209303"/>
              <a:gd name="connsiteY245" fmla="*/ 776583 h 1945860"/>
              <a:gd name="connsiteX246" fmla="*/ 402061 w 2209303"/>
              <a:gd name="connsiteY246" fmla="*/ 766291 h 1945860"/>
              <a:gd name="connsiteX247" fmla="*/ 426892 w 2209303"/>
              <a:gd name="connsiteY247" fmla="*/ 775336 h 1945860"/>
              <a:gd name="connsiteX248" fmla="*/ 439960 w 2209303"/>
              <a:gd name="connsiteY248" fmla="*/ 786840 h 1945860"/>
              <a:gd name="connsiteX249" fmla="*/ 439960 w 2209303"/>
              <a:gd name="connsiteY249" fmla="*/ 973825 h 1945860"/>
              <a:gd name="connsiteX250" fmla="*/ 439960 w 2209303"/>
              <a:gd name="connsiteY250" fmla="*/ 1160809 h 1945860"/>
              <a:gd name="connsiteX251" fmla="*/ 427336 w 2209303"/>
              <a:gd name="connsiteY251" fmla="*/ 1171932 h 1945860"/>
              <a:gd name="connsiteX252" fmla="*/ 393817 w 2209303"/>
              <a:gd name="connsiteY252" fmla="*/ 1179209 h 1945860"/>
              <a:gd name="connsiteX253" fmla="*/ 1783185 w 2209303"/>
              <a:gd name="connsiteY253" fmla="*/ 1172314 h 1945860"/>
              <a:gd name="connsiteX254" fmla="*/ 1770121 w 2209303"/>
              <a:gd name="connsiteY254" fmla="*/ 1160809 h 1945860"/>
              <a:gd name="connsiteX255" fmla="*/ 1770121 w 2209303"/>
              <a:gd name="connsiteY255" fmla="*/ 973825 h 1945860"/>
              <a:gd name="connsiteX256" fmla="*/ 1770121 w 2209303"/>
              <a:gd name="connsiteY256" fmla="*/ 786840 h 1945860"/>
              <a:gd name="connsiteX257" fmla="*/ 1783185 w 2209303"/>
              <a:gd name="connsiteY257" fmla="*/ 775336 h 1945860"/>
              <a:gd name="connsiteX258" fmla="*/ 1808020 w 2209303"/>
              <a:gd name="connsiteY258" fmla="*/ 766291 h 1945860"/>
              <a:gd name="connsiteX259" fmla="*/ 1827346 w 2209303"/>
              <a:gd name="connsiteY259" fmla="*/ 776583 h 1945860"/>
              <a:gd name="connsiteX260" fmla="*/ 1834904 w 2209303"/>
              <a:gd name="connsiteY260" fmla="*/ 973825 h 1945860"/>
              <a:gd name="connsiteX261" fmla="*/ 1827346 w 2209303"/>
              <a:gd name="connsiteY261" fmla="*/ 1171031 h 1945860"/>
              <a:gd name="connsiteX262" fmla="*/ 1808020 w 2209303"/>
              <a:gd name="connsiteY262" fmla="*/ 1181358 h 1945860"/>
              <a:gd name="connsiteX263" fmla="*/ 1783185 w 2209303"/>
              <a:gd name="connsiteY263" fmla="*/ 1172314 h 1945860"/>
              <a:gd name="connsiteX264" fmla="*/ 321196 w 2209303"/>
              <a:gd name="connsiteY264" fmla="*/ 709080 h 1945860"/>
              <a:gd name="connsiteX265" fmla="*/ 11833 w 2209303"/>
              <a:gd name="connsiteY265" fmla="*/ 445063 h 1945860"/>
              <a:gd name="connsiteX266" fmla="*/ 9289 w 2209303"/>
              <a:gd name="connsiteY266" fmla="*/ 280603 h 1945860"/>
              <a:gd name="connsiteX267" fmla="*/ 342143 w 2209303"/>
              <a:gd name="connsiteY267" fmla="*/ 5220 h 1945860"/>
              <a:gd name="connsiteX268" fmla="*/ 584637 w 2209303"/>
              <a:gd name="connsiteY268" fmla="*/ 37828 h 1945860"/>
              <a:gd name="connsiteX269" fmla="*/ 799222 w 2209303"/>
              <a:gd name="connsiteY269" fmla="*/ 264385 h 1945860"/>
              <a:gd name="connsiteX270" fmla="*/ 808953 w 2209303"/>
              <a:gd name="connsiteY270" fmla="*/ 359471 h 1945860"/>
              <a:gd name="connsiteX271" fmla="*/ 796814 w 2209303"/>
              <a:gd name="connsiteY271" fmla="*/ 458370 h 1945860"/>
              <a:gd name="connsiteX272" fmla="*/ 518978 w 2209303"/>
              <a:gd name="connsiteY272" fmla="*/ 702288 h 1945860"/>
              <a:gd name="connsiteX273" fmla="*/ 416206 w 2209303"/>
              <a:gd name="connsiteY273" fmla="*/ 713654 h 1945860"/>
              <a:gd name="connsiteX274" fmla="*/ 321196 w 2209303"/>
              <a:gd name="connsiteY274" fmla="*/ 709080 h 1945860"/>
              <a:gd name="connsiteX275" fmla="*/ 479422 w 2209303"/>
              <a:gd name="connsiteY275" fmla="*/ 652596 h 1945860"/>
              <a:gd name="connsiteX276" fmla="*/ 595432 w 2209303"/>
              <a:gd name="connsiteY276" fmla="*/ 609489 h 1945860"/>
              <a:gd name="connsiteX277" fmla="*/ 620499 w 2209303"/>
              <a:gd name="connsiteY277" fmla="*/ 581420 h 1945860"/>
              <a:gd name="connsiteX278" fmla="*/ 564140 w 2209303"/>
              <a:gd name="connsiteY278" fmla="*/ 503695 h 1945860"/>
              <a:gd name="connsiteX279" fmla="*/ 541450 w 2209303"/>
              <a:gd name="connsiteY279" fmla="*/ 492606 h 1945860"/>
              <a:gd name="connsiteX280" fmla="*/ 414809 w 2209303"/>
              <a:gd name="connsiteY280" fmla="*/ 491463 h 1945860"/>
              <a:gd name="connsiteX281" fmla="*/ 266306 w 2209303"/>
              <a:gd name="connsiteY281" fmla="*/ 496695 h 1945860"/>
              <a:gd name="connsiteX282" fmla="*/ 191069 w 2209303"/>
              <a:gd name="connsiteY282" fmla="*/ 575634 h 1945860"/>
              <a:gd name="connsiteX283" fmla="*/ 188505 w 2209303"/>
              <a:gd name="connsiteY283" fmla="*/ 592128 h 1945860"/>
              <a:gd name="connsiteX284" fmla="*/ 212720 w 2209303"/>
              <a:gd name="connsiteY284" fmla="*/ 606266 h 1945860"/>
              <a:gd name="connsiteX285" fmla="*/ 323445 w 2209303"/>
              <a:gd name="connsiteY285" fmla="*/ 650240 h 1945860"/>
              <a:gd name="connsiteX286" fmla="*/ 479422 w 2209303"/>
              <a:gd name="connsiteY286" fmla="*/ 652596 h 1945860"/>
              <a:gd name="connsiteX287" fmla="*/ 706853 w 2209303"/>
              <a:gd name="connsiteY287" fmla="*/ 502136 h 1945860"/>
              <a:gd name="connsiteX288" fmla="*/ 745594 w 2209303"/>
              <a:gd name="connsiteY288" fmla="*/ 372328 h 1945860"/>
              <a:gd name="connsiteX289" fmla="*/ 715821 w 2209303"/>
              <a:gd name="connsiteY289" fmla="*/ 232262 h 1945860"/>
              <a:gd name="connsiteX290" fmla="*/ 170704 w 2209303"/>
              <a:gd name="connsiteY290" fmla="*/ 140468 h 1945860"/>
              <a:gd name="connsiteX291" fmla="*/ 94188 w 2209303"/>
              <a:gd name="connsiteY291" fmla="*/ 481552 h 1945860"/>
              <a:gd name="connsiteX292" fmla="*/ 132700 w 2209303"/>
              <a:gd name="connsiteY292" fmla="*/ 536372 h 1945860"/>
              <a:gd name="connsiteX293" fmla="*/ 147798 w 2209303"/>
              <a:gd name="connsiteY293" fmla="*/ 515615 h 1945860"/>
              <a:gd name="connsiteX294" fmla="*/ 266344 w 2209303"/>
              <a:gd name="connsiteY294" fmla="*/ 437925 h 1945860"/>
              <a:gd name="connsiteX295" fmla="*/ 544097 w 2209303"/>
              <a:gd name="connsiteY295" fmla="*/ 437509 h 1945860"/>
              <a:gd name="connsiteX296" fmla="*/ 668406 w 2209303"/>
              <a:gd name="connsiteY296" fmla="*/ 520155 h 1945860"/>
              <a:gd name="connsiteX297" fmla="*/ 686162 w 2209303"/>
              <a:gd name="connsiteY297" fmla="*/ 531417 h 1945860"/>
              <a:gd name="connsiteX298" fmla="*/ 706853 w 2209303"/>
              <a:gd name="connsiteY298" fmla="*/ 502136 h 1945860"/>
              <a:gd name="connsiteX299" fmla="*/ 375749 w 2209303"/>
              <a:gd name="connsiteY299" fmla="*/ 383901 h 1945860"/>
              <a:gd name="connsiteX300" fmla="*/ 266895 w 2209303"/>
              <a:gd name="connsiteY300" fmla="*/ 311270 h 1945860"/>
              <a:gd name="connsiteX301" fmla="*/ 252095 w 2209303"/>
              <a:gd name="connsiteY301" fmla="*/ 247267 h 1945860"/>
              <a:gd name="connsiteX302" fmla="*/ 266895 w 2209303"/>
              <a:gd name="connsiteY302" fmla="*/ 183299 h 1945860"/>
              <a:gd name="connsiteX303" fmla="*/ 472149 w 2209303"/>
              <a:gd name="connsiteY303" fmla="*/ 121271 h 1945860"/>
              <a:gd name="connsiteX304" fmla="*/ 550498 w 2209303"/>
              <a:gd name="connsiteY304" fmla="*/ 191268 h 1945860"/>
              <a:gd name="connsiteX305" fmla="*/ 562862 w 2209303"/>
              <a:gd name="connsiteY305" fmla="*/ 247267 h 1945860"/>
              <a:gd name="connsiteX306" fmla="*/ 549631 w 2209303"/>
              <a:gd name="connsiteY306" fmla="*/ 304339 h 1945860"/>
              <a:gd name="connsiteX307" fmla="*/ 436509 w 2209303"/>
              <a:gd name="connsiteY307" fmla="*/ 383728 h 1945860"/>
              <a:gd name="connsiteX308" fmla="*/ 375749 w 2209303"/>
              <a:gd name="connsiteY308" fmla="*/ 383901 h 1945860"/>
              <a:gd name="connsiteX309" fmla="*/ 434312 w 2209303"/>
              <a:gd name="connsiteY309" fmla="*/ 325235 h 1945860"/>
              <a:gd name="connsiteX310" fmla="*/ 473635 w 2209303"/>
              <a:gd name="connsiteY310" fmla="*/ 302815 h 1945860"/>
              <a:gd name="connsiteX311" fmla="*/ 470499 w 2209303"/>
              <a:gd name="connsiteY311" fmla="*/ 189883 h 1945860"/>
              <a:gd name="connsiteX312" fmla="*/ 354465 w 2209303"/>
              <a:gd name="connsiteY312" fmla="*/ 180284 h 1945860"/>
              <a:gd name="connsiteX313" fmla="*/ 360034 w 2209303"/>
              <a:gd name="connsiteY313" fmla="*/ 318582 h 1945860"/>
              <a:gd name="connsiteX314" fmla="*/ 434312 w 2209303"/>
              <a:gd name="connsiteY314" fmla="*/ 325235 h 1945860"/>
              <a:gd name="connsiteX315" fmla="*/ 1723105 w 2209303"/>
              <a:gd name="connsiteY315" fmla="*/ 709288 h 1945860"/>
              <a:gd name="connsiteX316" fmla="*/ 1413267 w 2209303"/>
              <a:gd name="connsiteY316" fmla="*/ 458370 h 1945860"/>
              <a:gd name="connsiteX317" fmla="*/ 1401128 w 2209303"/>
              <a:gd name="connsiteY317" fmla="*/ 359471 h 1945860"/>
              <a:gd name="connsiteX318" fmla="*/ 1410859 w 2209303"/>
              <a:gd name="connsiteY318" fmla="*/ 264385 h 1945860"/>
              <a:gd name="connsiteX319" fmla="*/ 1705342 w 2209303"/>
              <a:gd name="connsiteY319" fmla="*/ 10833 h 1945860"/>
              <a:gd name="connsiteX320" fmla="*/ 1892066 w 2209303"/>
              <a:gd name="connsiteY320" fmla="*/ 8685 h 1945860"/>
              <a:gd name="connsiteX321" fmla="*/ 2168489 w 2209303"/>
              <a:gd name="connsiteY321" fmla="*/ 199724 h 1945860"/>
              <a:gd name="connsiteX322" fmla="*/ 2201998 w 2209303"/>
              <a:gd name="connsiteY322" fmla="*/ 294741 h 1945860"/>
              <a:gd name="connsiteX323" fmla="*/ 2169841 w 2209303"/>
              <a:gd name="connsiteY323" fmla="*/ 323329 h 1945860"/>
              <a:gd name="connsiteX324" fmla="*/ 2139035 w 2209303"/>
              <a:gd name="connsiteY324" fmla="*/ 297547 h 1945860"/>
              <a:gd name="connsiteX325" fmla="*/ 1886730 w 2209303"/>
              <a:gd name="connsiteY325" fmla="*/ 65792 h 1945860"/>
              <a:gd name="connsiteX326" fmla="*/ 1718548 w 2209303"/>
              <a:gd name="connsiteY326" fmla="*/ 66139 h 1945860"/>
              <a:gd name="connsiteX327" fmla="*/ 1470426 w 2209303"/>
              <a:gd name="connsiteY327" fmla="*/ 291761 h 1945860"/>
              <a:gd name="connsiteX328" fmla="*/ 1472096 w 2209303"/>
              <a:gd name="connsiteY328" fmla="*/ 431653 h 1945860"/>
              <a:gd name="connsiteX329" fmla="*/ 1520828 w 2209303"/>
              <a:gd name="connsiteY329" fmla="*/ 527709 h 1945860"/>
              <a:gd name="connsiteX330" fmla="*/ 1531210 w 2209303"/>
              <a:gd name="connsiteY330" fmla="*/ 540011 h 1945860"/>
              <a:gd name="connsiteX331" fmla="*/ 1541620 w 2209303"/>
              <a:gd name="connsiteY331" fmla="*/ 520259 h 1945860"/>
              <a:gd name="connsiteX332" fmla="*/ 1665984 w 2209303"/>
              <a:gd name="connsiteY332" fmla="*/ 437509 h 1945860"/>
              <a:gd name="connsiteX333" fmla="*/ 1943733 w 2209303"/>
              <a:gd name="connsiteY333" fmla="*/ 437925 h 1945860"/>
              <a:gd name="connsiteX334" fmla="*/ 2062279 w 2209303"/>
              <a:gd name="connsiteY334" fmla="*/ 515615 h 1945860"/>
              <a:gd name="connsiteX335" fmla="*/ 2077492 w 2209303"/>
              <a:gd name="connsiteY335" fmla="*/ 536372 h 1945860"/>
              <a:gd name="connsiteX336" fmla="*/ 2138030 w 2209303"/>
              <a:gd name="connsiteY336" fmla="*/ 426177 h 1945860"/>
              <a:gd name="connsiteX337" fmla="*/ 2197424 w 2209303"/>
              <a:gd name="connsiteY337" fmla="*/ 415435 h 1945860"/>
              <a:gd name="connsiteX338" fmla="*/ 2196245 w 2209303"/>
              <a:gd name="connsiteY338" fmla="*/ 451509 h 1945860"/>
              <a:gd name="connsiteX339" fmla="*/ 2167484 w 2209303"/>
              <a:gd name="connsiteY339" fmla="*/ 515442 h 1945860"/>
              <a:gd name="connsiteX340" fmla="*/ 1881272 w 2209303"/>
              <a:gd name="connsiteY340" fmla="*/ 709669 h 1945860"/>
              <a:gd name="connsiteX341" fmla="*/ 1723105 w 2209303"/>
              <a:gd name="connsiteY341" fmla="*/ 709288 h 1945860"/>
              <a:gd name="connsiteX342" fmla="*/ 1884956 w 2209303"/>
              <a:gd name="connsiteY342" fmla="*/ 650413 h 1945860"/>
              <a:gd name="connsiteX343" fmla="*/ 1997375 w 2209303"/>
              <a:gd name="connsiteY343" fmla="*/ 606266 h 1945860"/>
              <a:gd name="connsiteX344" fmla="*/ 2021563 w 2209303"/>
              <a:gd name="connsiteY344" fmla="*/ 592128 h 1945860"/>
              <a:gd name="connsiteX345" fmla="*/ 2018998 w 2209303"/>
              <a:gd name="connsiteY345" fmla="*/ 575599 h 1945860"/>
              <a:gd name="connsiteX346" fmla="*/ 1948273 w 2209303"/>
              <a:gd name="connsiteY346" fmla="*/ 498289 h 1945860"/>
              <a:gd name="connsiteX347" fmla="*/ 1805591 w 2209303"/>
              <a:gd name="connsiteY347" fmla="*/ 490735 h 1945860"/>
              <a:gd name="connsiteX348" fmla="*/ 1670645 w 2209303"/>
              <a:gd name="connsiteY348" fmla="*/ 494512 h 1945860"/>
              <a:gd name="connsiteX349" fmla="*/ 1591031 w 2209303"/>
              <a:gd name="connsiteY349" fmla="*/ 575703 h 1945860"/>
              <a:gd name="connsiteX350" fmla="*/ 1614649 w 2209303"/>
              <a:gd name="connsiteY350" fmla="*/ 609073 h 1945860"/>
              <a:gd name="connsiteX351" fmla="*/ 1728039 w 2209303"/>
              <a:gd name="connsiteY351" fmla="*/ 652111 h 1945860"/>
              <a:gd name="connsiteX352" fmla="*/ 1884956 w 2209303"/>
              <a:gd name="connsiteY352" fmla="*/ 650413 h 1945860"/>
              <a:gd name="connsiteX353" fmla="*/ 879696 w 2209303"/>
              <a:gd name="connsiteY353" fmla="*/ 376521 h 1945860"/>
              <a:gd name="connsiteX354" fmla="*/ 869414 w 2209303"/>
              <a:gd name="connsiteY354" fmla="*/ 354620 h 1945860"/>
              <a:gd name="connsiteX355" fmla="*/ 881130 w 2209303"/>
              <a:gd name="connsiteY355" fmla="*/ 337606 h 1945860"/>
              <a:gd name="connsiteX356" fmla="*/ 1105041 w 2209303"/>
              <a:gd name="connsiteY356" fmla="*/ 330953 h 1945860"/>
              <a:gd name="connsiteX357" fmla="*/ 1328951 w 2209303"/>
              <a:gd name="connsiteY357" fmla="*/ 337606 h 1945860"/>
              <a:gd name="connsiteX358" fmla="*/ 1340667 w 2209303"/>
              <a:gd name="connsiteY358" fmla="*/ 354620 h 1945860"/>
              <a:gd name="connsiteX359" fmla="*/ 1330385 w 2209303"/>
              <a:gd name="connsiteY359" fmla="*/ 376521 h 1945860"/>
              <a:gd name="connsiteX360" fmla="*/ 1317321 w 2209303"/>
              <a:gd name="connsiteY360" fmla="*/ 388025 h 1945860"/>
              <a:gd name="connsiteX361" fmla="*/ 1105041 w 2209303"/>
              <a:gd name="connsiteY361" fmla="*/ 388025 h 1945860"/>
              <a:gd name="connsiteX362" fmla="*/ 892760 w 2209303"/>
              <a:gd name="connsiteY362" fmla="*/ 388025 h 1945860"/>
              <a:gd name="connsiteX363" fmla="*/ 1775201 w 2209303"/>
              <a:gd name="connsiteY363" fmla="*/ 384109 h 1945860"/>
              <a:gd name="connsiteX364" fmla="*/ 1660512 w 2209303"/>
              <a:gd name="connsiteY364" fmla="*/ 304339 h 1945860"/>
              <a:gd name="connsiteX365" fmla="*/ 1647219 w 2209303"/>
              <a:gd name="connsiteY365" fmla="*/ 247267 h 1945860"/>
              <a:gd name="connsiteX366" fmla="*/ 1697205 w 2209303"/>
              <a:gd name="connsiteY366" fmla="*/ 146671 h 1945860"/>
              <a:gd name="connsiteX367" fmla="*/ 1800799 w 2209303"/>
              <a:gd name="connsiteY367" fmla="*/ 109662 h 1945860"/>
              <a:gd name="connsiteX368" fmla="*/ 1951773 w 2209303"/>
              <a:gd name="connsiteY368" fmla="*/ 201075 h 1945860"/>
              <a:gd name="connsiteX369" fmla="*/ 1959258 w 2209303"/>
              <a:gd name="connsiteY369" fmla="*/ 254890 h 1945860"/>
              <a:gd name="connsiteX370" fmla="*/ 1942971 w 2209303"/>
              <a:gd name="connsiteY370" fmla="*/ 311235 h 1945860"/>
              <a:gd name="connsiteX371" fmla="*/ 1775201 w 2209303"/>
              <a:gd name="connsiteY371" fmla="*/ 384109 h 1945860"/>
              <a:gd name="connsiteX372" fmla="*/ 1847330 w 2209303"/>
              <a:gd name="connsiteY372" fmla="*/ 319794 h 1945860"/>
              <a:gd name="connsiteX373" fmla="*/ 1894492 w 2209303"/>
              <a:gd name="connsiteY373" fmla="*/ 239227 h 1945860"/>
              <a:gd name="connsiteX374" fmla="*/ 1739582 w 2209303"/>
              <a:gd name="connsiteY374" fmla="*/ 189883 h 1945860"/>
              <a:gd name="connsiteX375" fmla="*/ 1736487 w 2209303"/>
              <a:gd name="connsiteY375" fmla="*/ 302849 h 1945860"/>
              <a:gd name="connsiteX376" fmla="*/ 1847330 w 2209303"/>
              <a:gd name="connsiteY376" fmla="*/ 319794 h 194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Lst>
            <a:rect l="l" t="t" r="r" b="b"/>
            <a:pathLst>
              <a:path w="2209303" h="1945860">
                <a:moveTo>
                  <a:pt x="336037" y="1942013"/>
                </a:moveTo>
                <a:cubicBezTo>
                  <a:pt x="209324" y="1920737"/>
                  <a:pt x="98467" y="1847690"/>
                  <a:pt x="41540" y="1747925"/>
                </a:cubicBezTo>
                <a:cubicBezTo>
                  <a:pt x="12893" y="1697714"/>
                  <a:pt x="-3390" y="1625879"/>
                  <a:pt x="882" y="1568598"/>
                </a:cubicBezTo>
                <a:cubicBezTo>
                  <a:pt x="11715" y="1423336"/>
                  <a:pt x="120114" y="1297479"/>
                  <a:pt x="274883" y="1250489"/>
                </a:cubicBezTo>
                <a:cubicBezTo>
                  <a:pt x="322696" y="1236005"/>
                  <a:pt x="342916" y="1235139"/>
                  <a:pt x="354015" y="1247232"/>
                </a:cubicBezTo>
                <a:cubicBezTo>
                  <a:pt x="364549" y="1258667"/>
                  <a:pt x="364494" y="1274538"/>
                  <a:pt x="353883" y="1284588"/>
                </a:cubicBezTo>
                <a:cubicBezTo>
                  <a:pt x="349299" y="1288919"/>
                  <a:pt x="335209" y="1294532"/>
                  <a:pt x="322575" y="1297062"/>
                </a:cubicBezTo>
                <a:cubicBezTo>
                  <a:pt x="309937" y="1299592"/>
                  <a:pt x="280015" y="1309953"/>
                  <a:pt x="256080" y="1320071"/>
                </a:cubicBezTo>
                <a:cubicBezTo>
                  <a:pt x="168444" y="1357150"/>
                  <a:pt x="103083" y="1427078"/>
                  <a:pt x="74803" y="1513987"/>
                </a:cubicBezTo>
                <a:cubicBezTo>
                  <a:pt x="63801" y="1547773"/>
                  <a:pt x="63375" y="1627300"/>
                  <a:pt x="74006" y="1662334"/>
                </a:cubicBezTo>
                <a:cubicBezTo>
                  <a:pt x="84100" y="1695565"/>
                  <a:pt x="129536" y="1775543"/>
                  <a:pt x="134364" y="1768577"/>
                </a:cubicBezTo>
                <a:cubicBezTo>
                  <a:pt x="134984" y="1767677"/>
                  <a:pt x="140338" y="1758390"/>
                  <a:pt x="146263" y="1747925"/>
                </a:cubicBezTo>
                <a:cubicBezTo>
                  <a:pt x="161438" y="1721139"/>
                  <a:pt x="191201" y="1696224"/>
                  <a:pt x="226217" y="1681046"/>
                </a:cubicBezTo>
                <a:lnTo>
                  <a:pt x="256202" y="1668052"/>
                </a:lnTo>
                <a:lnTo>
                  <a:pt x="395872" y="1666873"/>
                </a:lnTo>
                <a:cubicBezTo>
                  <a:pt x="514892" y="1665903"/>
                  <a:pt x="539173" y="1666630"/>
                  <a:pt x="560089" y="1671967"/>
                </a:cubicBezTo>
                <a:cubicBezTo>
                  <a:pt x="606247" y="1683645"/>
                  <a:pt x="648630" y="1714936"/>
                  <a:pt x="669359" y="1752638"/>
                </a:cubicBezTo>
                <a:lnTo>
                  <a:pt x="678909" y="1770034"/>
                </a:lnTo>
                <a:lnTo>
                  <a:pt x="687455" y="1760885"/>
                </a:lnTo>
                <a:cubicBezTo>
                  <a:pt x="702605" y="1744668"/>
                  <a:pt x="729006" y="1691754"/>
                  <a:pt x="738456" y="1658695"/>
                </a:cubicBezTo>
                <a:cubicBezTo>
                  <a:pt x="746239" y="1631459"/>
                  <a:pt x="747344" y="1618880"/>
                  <a:pt x="745650" y="1576916"/>
                </a:cubicBezTo>
                <a:cubicBezTo>
                  <a:pt x="743928" y="1534258"/>
                  <a:pt x="741803" y="1522615"/>
                  <a:pt x="730500" y="1493957"/>
                </a:cubicBezTo>
                <a:cubicBezTo>
                  <a:pt x="692306" y="1397138"/>
                  <a:pt x="604386" y="1324229"/>
                  <a:pt x="494111" y="1297929"/>
                </a:cubicBezTo>
                <a:cubicBezTo>
                  <a:pt x="458288" y="1289370"/>
                  <a:pt x="444243" y="1277171"/>
                  <a:pt x="451000" y="1260469"/>
                </a:cubicBezTo>
                <a:cubicBezTo>
                  <a:pt x="453239" y="1254925"/>
                  <a:pt x="460228" y="1246990"/>
                  <a:pt x="466528" y="1242866"/>
                </a:cubicBezTo>
                <a:lnTo>
                  <a:pt x="477984" y="1235346"/>
                </a:lnTo>
                <a:lnTo>
                  <a:pt x="518268" y="1245534"/>
                </a:lnTo>
                <a:cubicBezTo>
                  <a:pt x="664338" y="1282439"/>
                  <a:pt x="774502" y="1388371"/>
                  <a:pt x="805086" y="1521298"/>
                </a:cubicBezTo>
                <a:cubicBezTo>
                  <a:pt x="815138" y="1564994"/>
                  <a:pt x="811902" y="1644661"/>
                  <a:pt x="798453" y="1684581"/>
                </a:cubicBezTo>
                <a:cubicBezTo>
                  <a:pt x="756212" y="1809919"/>
                  <a:pt x="648180" y="1903134"/>
                  <a:pt x="506898" y="1936088"/>
                </a:cubicBezTo>
                <a:cubicBezTo>
                  <a:pt x="461341" y="1946726"/>
                  <a:pt x="380829" y="1949533"/>
                  <a:pt x="336037" y="1942013"/>
                </a:cubicBezTo>
                <a:close/>
                <a:moveTo>
                  <a:pt x="491783" y="1880782"/>
                </a:moveTo>
                <a:cubicBezTo>
                  <a:pt x="528670" y="1872258"/>
                  <a:pt x="561205" y="1859471"/>
                  <a:pt x="594354" y="1840482"/>
                </a:cubicBezTo>
                <a:cubicBezTo>
                  <a:pt x="619345" y="1826135"/>
                  <a:pt x="621338" y="1823988"/>
                  <a:pt x="621251" y="1811200"/>
                </a:cubicBezTo>
                <a:cubicBezTo>
                  <a:pt x="621133" y="1794256"/>
                  <a:pt x="607536" y="1766880"/>
                  <a:pt x="591939" y="1752187"/>
                </a:cubicBezTo>
                <a:cubicBezTo>
                  <a:pt x="585549" y="1746192"/>
                  <a:pt x="570600" y="1737217"/>
                  <a:pt x="558724" y="1732263"/>
                </a:cubicBezTo>
                <a:cubicBezTo>
                  <a:pt x="537482" y="1723426"/>
                  <a:pt x="534970" y="1723253"/>
                  <a:pt x="405408" y="1723321"/>
                </a:cubicBezTo>
                <a:cubicBezTo>
                  <a:pt x="286218" y="1723356"/>
                  <a:pt x="272003" y="1724050"/>
                  <a:pt x="255976" y="1730461"/>
                </a:cubicBezTo>
                <a:cubicBezTo>
                  <a:pt x="222201" y="1743940"/>
                  <a:pt x="197282" y="1773014"/>
                  <a:pt x="191322" y="1805829"/>
                </a:cubicBezTo>
                <a:cubicBezTo>
                  <a:pt x="188588" y="1820903"/>
                  <a:pt x="189125" y="1821839"/>
                  <a:pt x="207338" y="1833517"/>
                </a:cubicBezTo>
                <a:cubicBezTo>
                  <a:pt x="228469" y="1847101"/>
                  <a:pt x="268642" y="1865743"/>
                  <a:pt x="295054" y="1874233"/>
                </a:cubicBezTo>
                <a:cubicBezTo>
                  <a:pt x="347618" y="1891144"/>
                  <a:pt x="434492" y="1894020"/>
                  <a:pt x="491783" y="1880782"/>
                </a:cubicBezTo>
                <a:close/>
                <a:moveTo>
                  <a:pt x="1746370" y="1944058"/>
                </a:moveTo>
                <a:cubicBezTo>
                  <a:pt x="1674765" y="1933627"/>
                  <a:pt x="1602358" y="1905386"/>
                  <a:pt x="1547545" y="1866506"/>
                </a:cubicBezTo>
                <a:cubicBezTo>
                  <a:pt x="1484304" y="1821630"/>
                  <a:pt x="1434256" y="1754543"/>
                  <a:pt x="1410859" y="1683264"/>
                </a:cubicBezTo>
                <a:cubicBezTo>
                  <a:pt x="1402102" y="1656581"/>
                  <a:pt x="1400903" y="1644834"/>
                  <a:pt x="1401128" y="1588143"/>
                </a:cubicBezTo>
                <a:cubicBezTo>
                  <a:pt x="1401364" y="1528783"/>
                  <a:pt x="1402362" y="1520674"/>
                  <a:pt x="1413267" y="1489245"/>
                </a:cubicBezTo>
                <a:cubicBezTo>
                  <a:pt x="1455474" y="1367615"/>
                  <a:pt x="1558419" y="1279043"/>
                  <a:pt x="1699316" y="1243074"/>
                </a:cubicBezTo>
                <a:cubicBezTo>
                  <a:pt x="1728705" y="1235589"/>
                  <a:pt x="1743255" y="1234376"/>
                  <a:pt x="1804673" y="1234376"/>
                </a:cubicBezTo>
                <a:cubicBezTo>
                  <a:pt x="1865959" y="1234376"/>
                  <a:pt x="1880763" y="1235589"/>
                  <a:pt x="1910467" y="1243074"/>
                </a:cubicBezTo>
                <a:cubicBezTo>
                  <a:pt x="2023018" y="1271420"/>
                  <a:pt x="2116476" y="1340170"/>
                  <a:pt x="2167484" y="1432207"/>
                </a:cubicBezTo>
                <a:cubicBezTo>
                  <a:pt x="2282599" y="1639740"/>
                  <a:pt x="2151336" y="1882966"/>
                  <a:pt x="1894319" y="1938305"/>
                </a:cubicBezTo>
                <a:cubicBezTo>
                  <a:pt x="1862328" y="1945201"/>
                  <a:pt x="1776962" y="1948493"/>
                  <a:pt x="1746370" y="1944058"/>
                </a:cubicBezTo>
                <a:close/>
                <a:moveTo>
                  <a:pt x="1888879" y="1881164"/>
                </a:moveTo>
                <a:cubicBezTo>
                  <a:pt x="1920586" y="1873817"/>
                  <a:pt x="1977312" y="1850149"/>
                  <a:pt x="2002746" y="1833655"/>
                </a:cubicBezTo>
                <a:cubicBezTo>
                  <a:pt x="2020939" y="1821839"/>
                  <a:pt x="2021493" y="1820903"/>
                  <a:pt x="2018756" y="1805794"/>
                </a:cubicBezTo>
                <a:cubicBezTo>
                  <a:pt x="2014875" y="1784448"/>
                  <a:pt x="1996301" y="1755583"/>
                  <a:pt x="1978871" y="1743906"/>
                </a:cubicBezTo>
                <a:cubicBezTo>
                  <a:pt x="1948827" y="1723703"/>
                  <a:pt x="1944392" y="1723183"/>
                  <a:pt x="1803731" y="1723287"/>
                </a:cubicBezTo>
                <a:cubicBezTo>
                  <a:pt x="1681515" y="1723356"/>
                  <a:pt x="1671677" y="1723877"/>
                  <a:pt x="1653516" y="1731118"/>
                </a:cubicBezTo>
                <a:cubicBezTo>
                  <a:pt x="1642829" y="1735381"/>
                  <a:pt x="1628493" y="1743455"/>
                  <a:pt x="1621660" y="1749103"/>
                </a:cubicBezTo>
                <a:cubicBezTo>
                  <a:pt x="1605401" y="1762479"/>
                  <a:pt x="1588830" y="1793770"/>
                  <a:pt x="1588778" y="1811200"/>
                </a:cubicBezTo>
                <a:cubicBezTo>
                  <a:pt x="1588740" y="1823953"/>
                  <a:pt x="1590767" y="1826170"/>
                  <a:pt x="1615727" y="1840482"/>
                </a:cubicBezTo>
                <a:cubicBezTo>
                  <a:pt x="1650983" y="1860684"/>
                  <a:pt x="1683178" y="1872985"/>
                  <a:pt x="1720457" y="1880470"/>
                </a:cubicBezTo>
                <a:cubicBezTo>
                  <a:pt x="1737084" y="1883832"/>
                  <a:pt x="1754576" y="1887401"/>
                  <a:pt x="1759323" y="1888406"/>
                </a:cubicBezTo>
                <a:cubicBezTo>
                  <a:pt x="1776199" y="1891941"/>
                  <a:pt x="1863378" y="1887089"/>
                  <a:pt x="1888879" y="1881164"/>
                </a:cubicBezTo>
                <a:close/>
                <a:moveTo>
                  <a:pt x="1540642" y="1752014"/>
                </a:moveTo>
                <a:cubicBezTo>
                  <a:pt x="1558111" y="1717223"/>
                  <a:pt x="1604080" y="1683576"/>
                  <a:pt x="1649992" y="1671967"/>
                </a:cubicBezTo>
                <a:cubicBezTo>
                  <a:pt x="1670904" y="1666665"/>
                  <a:pt x="1695178" y="1665903"/>
                  <a:pt x="1814102" y="1666873"/>
                </a:cubicBezTo>
                <a:lnTo>
                  <a:pt x="1953678" y="1668052"/>
                </a:lnTo>
                <a:lnTo>
                  <a:pt x="1982925" y="1680249"/>
                </a:lnTo>
                <a:cubicBezTo>
                  <a:pt x="2016815" y="1694387"/>
                  <a:pt x="2048141" y="1720688"/>
                  <a:pt x="2063908" y="1748237"/>
                </a:cubicBezTo>
                <a:cubicBezTo>
                  <a:pt x="2069764" y="1758529"/>
                  <a:pt x="2075101" y="1767677"/>
                  <a:pt x="2075724" y="1768577"/>
                </a:cubicBezTo>
                <a:cubicBezTo>
                  <a:pt x="2080541" y="1775543"/>
                  <a:pt x="2125970" y="1695565"/>
                  <a:pt x="2136089" y="1662334"/>
                </a:cubicBezTo>
                <a:cubicBezTo>
                  <a:pt x="2146450" y="1628201"/>
                  <a:pt x="2146138" y="1548188"/>
                  <a:pt x="2135569" y="1514195"/>
                </a:cubicBezTo>
                <a:cubicBezTo>
                  <a:pt x="2107917" y="1425657"/>
                  <a:pt x="2040344" y="1354862"/>
                  <a:pt x="1946956" y="1316676"/>
                </a:cubicBezTo>
                <a:cubicBezTo>
                  <a:pt x="1898650" y="1296923"/>
                  <a:pt x="1859043" y="1289543"/>
                  <a:pt x="1801270" y="1289543"/>
                </a:cubicBezTo>
                <a:cubicBezTo>
                  <a:pt x="1698141" y="1289543"/>
                  <a:pt x="1605106" y="1328284"/>
                  <a:pt x="1539187" y="1398663"/>
                </a:cubicBezTo>
                <a:cubicBezTo>
                  <a:pt x="1456506" y="1486958"/>
                  <a:pt x="1439374" y="1613647"/>
                  <a:pt x="1495903" y="1718748"/>
                </a:cubicBezTo>
                <a:cubicBezTo>
                  <a:pt x="1509767" y="1744529"/>
                  <a:pt x="1526577" y="1768856"/>
                  <a:pt x="1530527" y="1768856"/>
                </a:cubicBezTo>
                <a:cubicBezTo>
                  <a:pt x="1531442" y="1768856"/>
                  <a:pt x="1535992" y="1761266"/>
                  <a:pt x="1540642" y="1752014"/>
                </a:cubicBezTo>
                <a:close/>
                <a:moveTo>
                  <a:pt x="1758402" y="1611395"/>
                </a:moveTo>
                <a:cubicBezTo>
                  <a:pt x="1695653" y="1593341"/>
                  <a:pt x="1654396" y="1548569"/>
                  <a:pt x="1646578" y="1489973"/>
                </a:cubicBezTo>
                <a:cubicBezTo>
                  <a:pt x="1640999" y="1448147"/>
                  <a:pt x="1667817" y="1393985"/>
                  <a:pt x="1706472" y="1369001"/>
                </a:cubicBezTo>
                <a:cubicBezTo>
                  <a:pt x="1740164" y="1347205"/>
                  <a:pt x="1759881" y="1341522"/>
                  <a:pt x="1802511" y="1341175"/>
                </a:cubicBezTo>
                <a:cubicBezTo>
                  <a:pt x="1836612" y="1340933"/>
                  <a:pt x="1844676" y="1342249"/>
                  <a:pt x="1868253" y="1351848"/>
                </a:cubicBezTo>
                <a:cubicBezTo>
                  <a:pt x="1899829" y="1364670"/>
                  <a:pt x="1934377" y="1394782"/>
                  <a:pt x="1948515" y="1421742"/>
                </a:cubicBezTo>
                <a:cubicBezTo>
                  <a:pt x="1956277" y="1436504"/>
                  <a:pt x="1957975" y="1446692"/>
                  <a:pt x="1957975" y="1477844"/>
                </a:cubicBezTo>
                <a:cubicBezTo>
                  <a:pt x="1957975" y="1510833"/>
                  <a:pt x="1956520" y="1518665"/>
                  <a:pt x="1946817" y="1536787"/>
                </a:cubicBezTo>
                <a:cubicBezTo>
                  <a:pt x="1932194" y="1564198"/>
                  <a:pt x="1903294" y="1589875"/>
                  <a:pt x="1871895" y="1603424"/>
                </a:cubicBezTo>
                <a:cubicBezTo>
                  <a:pt x="1841720" y="1616419"/>
                  <a:pt x="1788830" y="1620127"/>
                  <a:pt x="1758402" y="1611395"/>
                </a:cubicBezTo>
                <a:close/>
                <a:moveTo>
                  <a:pt x="1848176" y="1549609"/>
                </a:moveTo>
                <a:cubicBezTo>
                  <a:pt x="1878774" y="1534917"/>
                  <a:pt x="1892586" y="1515303"/>
                  <a:pt x="1894631" y="1483666"/>
                </a:cubicBezTo>
                <a:cubicBezTo>
                  <a:pt x="1895913" y="1463568"/>
                  <a:pt x="1894423" y="1455008"/>
                  <a:pt x="1887562" y="1443260"/>
                </a:cubicBezTo>
                <a:cubicBezTo>
                  <a:pt x="1859362" y="1394956"/>
                  <a:pt x="1794915" y="1381475"/>
                  <a:pt x="1745736" y="1413598"/>
                </a:cubicBezTo>
                <a:cubicBezTo>
                  <a:pt x="1729041" y="1424514"/>
                  <a:pt x="1709660" y="1457641"/>
                  <a:pt x="1709660" y="1475280"/>
                </a:cubicBezTo>
                <a:cubicBezTo>
                  <a:pt x="1709660" y="1539422"/>
                  <a:pt x="1785029" y="1579861"/>
                  <a:pt x="1848176" y="1549609"/>
                </a:cubicBezTo>
                <a:close/>
                <a:moveTo>
                  <a:pt x="355412" y="1609973"/>
                </a:moveTo>
                <a:cubicBezTo>
                  <a:pt x="308814" y="1595315"/>
                  <a:pt x="271615" y="1561911"/>
                  <a:pt x="256101" y="1520744"/>
                </a:cubicBezTo>
                <a:cubicBezTo>
                  <a:pt x="246405" y="1495032"/>
                  <a:pt x="249230" y="1446726"/>
                  <a:pt x="261888" y="1421742"/>
                </a:cubicBezTo>
                <a:cubicBezTo>
                  <a:pt x="275413" y="1395059"/>
                  <a:pt x="310041" y="1364773"/>
                  <a:pt x="341828" y="1351848"/>
                </a:cubicBezTo>
                <a:cubicBezTo>
                  <a:pt x="365405" y="1342249"/>
                  <a:pt x="373469" y="1340933"/>
                  <a:pt x="407570" y="1341175"/>
                </a:cubicBezTo>
                <a:cubicBezTo>
                  <a:pt x="437981" y="1341417"/>
                  <a:pt x="451104" y="1343324"/>
                  <a:pt x="467890" y="1349977"/>
                </a:cubicBezTo>
                <a:cubicBezTo>
                  <a:pt x="591495" y="1398871"/>
                  <a:pt x="596336" y="1549852"/>
                  <a:pt x="475974" y="1602038"/>
                </a:cubicBezTo>
                <a:cubicBezTo>
                  <a:pt x="439967" y="1617667"/>
                  <a:pt x="390220" y="1620924"/>
                  <a:pt x="355412" y="1609973"/>
                </a:cubicBezTo>
                <a:close/>
                <a:moveTo>
                  <a:pt x="447237" y="1551689"/>
                </a:moveTo>
                <a:cubicBezTo>
                  <a:pt x="515984" y="1522373"/>
                  <a:pt x="516951" y="1436920"/>
                  <a:pt x="448880" y="1406529"/>
                </a:cubicBezTo>
                <a:cubicBezTo>
                  <a:pt x="399645" y="1384525"/>
                  <a:pt x="348037" y="1399529"/>
                  <a:pt x="322512" y="1443260"/>
                </a:cubicBezTo>
                <a:cubicBezTo>
                  <a:pt x="310211" y="1464329"/>
                  <a:pt x="312785" y="1503418"/>
                  <a:pt x="327780" y="1523239"/>
                </a:cubicBezTo>
                <a:cubicBezTo>
                  <a:pt x="352670" y="1556193"/>
                  <a:pt x="406579" y="1569015"/>
                  <a:pt x="447237" y="1551689"/>
                </a:cubicBezTo>
                <a:close/>
                <a:moveTo>
                  <a:pt x="881130" y="1610043"/>
                </a:moveTo>
                <a:cubicBezTo>
                  <a:pt x="876217" y="1606369"/>
                  <a:pt x="870946" y="1598712"/>
                  <a:pt x="869414" y="1592994"/>
                </a:cubicBezTo>
                <a:cubicBezTo>
                  <a:pt x="867183" y="1584712"/>
                  <a:pt x="869224" y="1580346"/>
                  <a:pt x="879696" y="1571128"/>
                </a:cubicBezTo>
                <a:lnTo>
                  <a:pt x="892760" y="1559623"/>
                </a:lnTo>
                <a:lnTo>
                  <a:pt x="1105041" y="1559623"/>
                </a:lnTo>
                <a:lnTo>
                  <a:pt x="1317321" y="1559623"/>
                </a:lnTo>
                <a:lnTo>
                  <a:pt x="1330385" y="1571128"/>
                </a:lnTo>
                <a:cubicBezTo>
                  <a:pt x="1340861" y="1580346"/>
                  <a:pt x="1342898" y="1584712"/>
                  <a:pt x="1340667" y="1592994"/>
                </a:cubicBezTo>
                <a:cubicBezTo>
                  <a:pt x="1339135" y="1598712"/>
                  <a:pt x="1333864" y="1606369"/>
                  <a:pt x="1328951" y="1610043"/>
                </a:cubicBezTo>
                <a:cubicBezTo>
                  <a:pt x="1320707" y="1616177"/>
                  <a:pt x="1303502" y="1616696"/>
                  <a:pt x="1105041" y="1616696"/>
                </a:cubicBezTo>
                <a:cubicBezTo>
                  <a:pt x="906579" y="1616696"/>
                  <a:pt x="889374" y="1616177"/>
                  <a:pt x="881130" y="1610043"/>
                </a:cubicBezTo>
                <a:close/>
                <a:moveTo>
                  <a:pt x="1028618" y="1320280"/>
                </a:moveTo>
                <a:cubicBezTo>
                  <a:pt x="1006056" y="1307943"/>
                  <a:pt x="1000532" y="1296820"/>
                  <a:pt x="998075" y="1258910"/>
                </a:cubicBezTo>
                <a:cubicBezTo>
                  <a:pt x="996190" y="1229733"/>
                  <a:pt x="994565" y="1223981"/>
                  <a:pt x="987299" y="1220550"/>
                </a:cubicBezTo>
                <a:cubicBezTo>
                  <a:pt x="979931" y="1217050"/>
                  <a:pt x="975046" y="1219753"/>
                  <a:pt x="952050" y="1239817"/>
                </a:cubicBezTo>
                <a:cubicBezTo>
                  <a:pt x="903329" y="1282335"/>
                  <a:pt x="885133" y="1280152"/>
                  <a:pt x="821071" y="1223946"/>
                </a:cubicBezTo>
                <a:cubicBezTo>
                  <a:pt x="757179" y="1167913"/>
                  <a:pt x="754645" y="1151591"/>
                  <a:pt x="803128" y="1108519"/>
                </a:cubicBezTo>
                <a:cubicBezTo>
                  <a:pt x="826622" y="1087624"/>
                  <a:pt x="828972" y="1084192"/>
                  <a:pt x="824605" y="1076985"/>
                </a:cubicBezTo>
                <a:cubicBezTo>
                  <a:pt x="820426" y="1070124"/>
                  <a:pt x="815738" y="1068911"/>
                  <a:pt x="792860" y="1068841"/>
                </a:cubicBezTo>
                <a:cubicBezTo>
                  <a:pt x="754545" y="1068703"/>
                  <a:pt x="734163" y="1063540"/>
                  <a:pt x="718895" y="1050095"/>
                </a:cubicBezTo>
                <a:lnTo>
                  <a:pt x="705560" y="1038347"/>
                </a:lnTo>
                <a:lnTo>
                  <a:pt x="705560" y="973825"/>
                </a:lnTo>
                <a:lnTo>
                  <a:pt x="705560" y="909302"/>
                </a:lnTo>
                <a:lnTo>
                  <a:pt x="718895" y="897554"/>
                </a:lnTo>
                <a:cubicBezTo>
                  <a:pt x="734163" y="884109"/>
                  <a:pt x="754545" y="878946"/>
                  <a:pt x="792860" y="878807"/>
                </a:cubicBezTo>
                <a:cubicBezTo>
                  <a:pt x="815738" y="878738"/>
                  <a:pt x="820426" y="877525"/>
                  <a:pt x="824605" y="870664"/>
                </a:cubicBezTo>
                <a:cubicBezTo>
                  <a:pt x="828972" y="863457"/>
                  <a:pt x="826622" y="860026"/>
                  <a:pt x="803128" y="839130"/>
                </a:cubicBezTo>
                <a:cubicBezTo>
                  <a:pt x="754632" y="796023"/>
                  <a:pt x="757172" y="779736"/>
                  <a:pt x="821147" y="723634"/>
                </a:cubicBezTo>
                <a:cubicBezTo>
                  <a:pt x="885164" y="667462"/>
                  <a:pt x="903325" y="665279"/>
                  <a:pt x="952126" y="707902"/>
                </a:cubicBezTo>
                <a:cubicBezTo>
                  <a:pt x="975056" y="727896"/>
                  <a:pt x="979931" y="730564"/>
                  <a:pt x="987299" y="727099"/>
                </a:cubicBezTo>
                <a:cubicBezTo>
                  <a:pt x="994565" y="723668"/>
                  <a:pt x="996190" y="717882"/>
                  <a:pt x="998075" y="688739"/>
                </a:cubicBezTo>
                <a:cubicBezTo>
                  <a:pt x="1000532" y="650794"/>
                  <a:pt x="1006056" y="639706"/>
                  <a:pt x="1028618" y="627335"/>
                </a:cubicBezTo>
                <a:cubicBezTo>
                  <a:pt x="1041117" y="620508"/>
                  <a:pt x="1048831" y="619884"/>
                  <a:pt x="1110367" y="620890"/>
                </a:cubicBezTo>
                <a:lnTo>
                  <a:pt x="1178317" y="621964"/>
                </a:lnTo>
                <a:lnTo>
                  <a:pt x="1191640" y="633711"/>
                </a:lnTo>
                <a:cubicBezTo>
                  <a:pt x="1206898" y="647156"/>
                  <a:pt x="1212758" y="665106"/>
                  <a:pt x="1212907" y="698858"/>
                </a:cubicBezTo>
                <a:cubicBezTo>
                  <a:pt x="1212993" y="718990"/>
                  <a:pt x="1214362" y="723114"/>
                  <a:pt x="1222173" y="726822"/>
                </a:cubicBezTo>
                <a:cubicBezTo>
                  <a:pt x="1230333" y="730668"/>
                  <a:pt x="1234256" y="728589"/>
                  <a:pt x="1258031" y="707832"/>
                </a:cubicBezTo>
                <a:cubicBezTo>
                  <a:pt x="1306752" y="665279"/>
                  <a:pt x="1324948" y="667497"/>
                  <a:pt x="1389010" y="723703"/>
                </a:cubicBezTo>
                <a:cubicBezTo>
                  <a:pt x="1452903" y="779736"/>
                  <a:pt x="1455436" y="796057"/>
                  <a:pt x="1406953" y="839130"/>
                </a:cubicBezTo>
                <a:cubicBezTo>
                  <a:pt x="1383459" y="860026"/>
                  <a:pt x="1381106" y="863457"/>
                  <a:pt x="1385476" y="870664"/>
                </a:cubicBezTo>
                <a:cubicBezTo>
                  <a:pt x="1389655" y="877525"/>
                  <a:pt x="1394343" y="878738"/>
                  <a:pt x="1417221" y="878807"/>
                </a:cubicBezTo>
                <a:cubicBezTo>
                  <a:pt x="1455526" y="878946"/>
                  <a:pt x="1475915" y="884109"/>
                  <a:pt x="1491186" y="897554"/>
                </a:cubicBezTo>
                <a:lnTo>
                  <a:pt x="1504521" y="909267"/>
                </a:lnTo>
                <a:lnTo>
                  <a:pt x="1505747" y="969112"/>
                </a:lnTo>
                <a:cubicBezTo>
                  <a:pt x="1506860" y="1023343"/>
                  <a:pt x="1506167" y="1030135"/>
                  <a:pt x="1498398" y="1041120"/>
                </a:cubicBezTo>
                <a:cubicBezTo>
                  <a:pt x="1484374" y="1061010"/>
                  <a:pt x="1471767" y="1065861"/>
                  <a:pt x="1428694" y="1068045"/>
                </a:cubicBezTo>
                <a:cubicBezTo>
                  <a:pt x="1395598" y="1069707"/>
                  <a:pt x="1389038" y="1071129"/>
                  <a:pt x="1385150" y="1077539"/>
                </a:cubicBezTo>
                <a:cubicBezTo>
                  <a:pt x="1381207" y="1084020"/>
                  <a:pt x="1384228" y="1088316"/>
                  <a:pt x="1406953" y="1108519"/>
                </a:cubicBezTo>
                <a:cubicBezTo>
                  <a:pt x="1455436" y="1151591"/>
                  <a:pt x="1452903" y="1167913"/>
                  <a:pt x="1389010" y="1223946"/>
                </a:cubicBezTo>
                <a:cubicBezTo>
                  <a:pt x="1324948" y="1280152"/>
                  <a:pt x="1306752" y="1282335"/>
                  <a:pt x="1258031" y="1239817"/>
                </a:cubicBezTo>
                <a:cubicBezTo>
                  <a:pt x="1234256" y="1219060"/>
                  <a:pt x="1230333" y="1216980"/>
                  <a:pt x="1222173" y="1220827"/>
                </a:cubicBezTo>
                <a:cubicBezTo>
                  <a:pt x="1214362" y="1224500"/>
                  <a:pt x="1212993" y="1228624"/>
                  <a:pt x="1212907" y="1248791"/>
                </a:cubicBezTo>
                <a:cubicBezTo>
                  <a:pt x="1212761" y="1282543"/>
                  <a:pt x="1206898" y="1300493"/>
                  <a:pt x="1191640" y="1313938"/>
                </a:cubicBezTo>
                <a:lnTo>
                  <a:pt x="1178317" y="1325686"/>
                </a:lnTo>
                <a:lnTo>
                  <a:pt x="1110367" y="1326759"/>
                </a:lnTo>
                <a:cubicBezTo>
                  <a:pt x="1048831" y="1327730"/>
                  <a:pt x="1041117" y="1327141"/>
                  <a:pt x="1028618" y="1320280"/>
                </a:cubicBezTo>
                <a:close/>
                <a:moveTo>
                  <a:pt x="1148228" y="1236594"/>
                </a:moveTo>
                <a:cubicBezTo>
                  <a:pt x="1148228" y="1205198"/>
                  <a:pt x="1149115" y="1201699"/>
                  <a:pt x="1159954" y="1190368"/>
                </a:cubicBezTo>
                <a:cubicBezTo>
                  <a:pt x="1173909" y="1175745"/>
                  <a:pt x="1211486" y="1160219"/>
                  <a:pt x="1232849" y="1160219"/>
                </a:cubicBezTo>
                <a:cubicBezTo>
                  <a:pt x="1253204" y="1160219"/>
                  <a:pt x="1262560" y="1164898"/>
                  <a:pt x="1290864" y="1189155"/>
                </a:cubicBezTo>
                <a:lnTo>
                  <a:pt x="1314740" y="1209668"/>
                </a:lnTo>
                <a:lnTo>
                  <a:pt x="1343796" y="1183853"/>
                </a:lnTo>
                <a:lnTo>
                  <a:pt x="1372855" y="1158072"/>
                </a:lnTo>
                <a:lnTo>
                  <a:pt x="1350896" y="1139186"/>
                </a:lnTo>
                <a:cubicBezTo>
                  <a:pt x="1324647" y="1116593"/>
                  <a:pt x="1316656" y="1104256"/>
                  <a:pt x="1316656" y="1086341"/>
                </a:cubicBezTo>
                <a:cubicBezTo>
                  <a:pt x="1316656" y="1067559"/>
                  <a:pt x="1334325" y="1034466"/>
                  <a:pt x="1350889" y="1022199"/>
                </a:cubicBezTo>
                <a:cubicBezTo>
                  <a:pt x="1363769" y="1012635"/>
                  <a:pt x="1367744" y="1011873"/>
                  <a:pt x="1403363" y="1011873"/>
                </a:cubicBezTo>
                <a:lnTo>
                  <a:pt x="1441900" y="1011873"/>
                </a:lnTo>
                <a:lnTo>
                  <a:pt x="1441900" y="973825"/>
                </a:lnTo>
                <a:lnTo>
                  <a:pt x="1441900" y="935776"/>
                </a:lnTo>
                <a:lnTo>
                  <a:pt x="1403363" y="935776"/>
                </a:lnTo>
                <a:cubicBezTo>
                  <a:pt x="1367744" y="935776"/>
                  <a:pt x="1363769" y="935013"/>
                  <a:pt x="1350889" y="925450"/>
                </a:cubicBezTo>
                <a:cubicBezTo>
                  <a:pt x="1334305" y="913148"/>
                  <a:pt x="1316656" y="880055"/>
                  <a:pt x="1316656" y="861239"/>
                </a:cubicBezTo>
                <a:cubicBezTo>
                  <a:pt x="1316656" y="843323"/>
                  <a:pt x="1321958" y="835076"/>
                  <a:pt x="1349534" y="810161"/>
                </a:cubicBezTo>
                <a:lnTo>
                  <a:pt x="1372793" y="789127"/>
                </a:lnTo>
                <a:lnTo>
                  <a:pt x="1343508" y="763519"/>
                </a:lnTo>
                <a:lnTo>
                  <a:pt x="1314227" y="737911"/>
                </a:lnTo>
                <a:lnTo>
                  <a:pt x="1292770" y="757281"/>
                </a:lnTo>
                <a:cubicBezTo>
                  <a:pt x="1267117" y="780395"/>
                  <a:pt x="1253121" y="787429"/>
                  <a:pt x="1232780" y="787429"/>
                </a:cubicBezTo>
                <a:cubicBezTo>
                  <a:pt x="1211479" y="787429"/>
                  <a:pt x="1173891" y="771870"/>
                  <a:pt x="1159954" y="757281"/>
                </a:cubicBezTo>
                <a:cubicBezTo>
                  <a:pt x="1149115" y="745916"/>
                  <a:pt x="1148228" y="742415"/>
                  <a:pt x="1148228" y="711055"/>
                </a:cubicBezTo>
                <a:lnTo>
                  <a:pt x="1148228" y="677096"/>
                </a:lnTo>
                <a:lnTo>
                  <a:pt x="1105041" y="677096"/>
                </a:lnTo>
                <a:lnTo>
                  <a:pt x="1061853" y="677096"/>
                </a:lnTo>
                <a:lnTo>
                  <a:pt x="1061853" y="711055"/>
                </a:lnTo>
                <a:cubicBezTo>
                  <a:pt x="1061853" y="742415"/>
                  <a:pt x="1060966" y="745916"/>
                  <a:pt x="1050127" y="757281"/>
                </a:cubicBezTo>
                <a:cubicBezTo>
                  <a:pt x="1036190" y="771870"/>
                  <a:pt x="998602" y="787429"/>
                  <a:pt x="977301" y="787429"/>
                </a:cubicBezTo>
                <a:cubicBezTo>
                  <a:pt x="956957" y="787429"/>
                  <a:pt x="942964" y="780395"/>
                  <a:pt x="917311" y="757281"/>
                </a:cubicBezTo>
                <a:lnTo>
                  <a:pt x="895854" y="737911"/>
                </a:lnTo>
                <a:lnTo>
                  <a:pt x="866573" y="763519"/>
                </a:lnTo>
                <a:lnTo>
                  <a:pt x="837288" y="789127"/>
                </a:lnTo>
                <a:lnTo>
                  <a:pt x="860547" y="810161"/>
                </a:lnTo>
                <a:cubicBezTo>
                  <a:pt x="888123" y="835076"/>
                  <a:pt x="893425" y="843323"/>
                  <a:pt x="893425" y="861239"/>
                </a:cubicBezTo>
                <a:cubicBezTo>
                  <a:pt x="893425" y="880055"/>
                  <a:pt x="875777" y="913148"/>
                  <a:pt x="859192" y="925450"/>
                </a:cubicBezTo>
                <a:cubicBezTo>
                  <a:pt x="846312" y="935013"/>
                  <a:pt x="842337" y="935776"/>
                  <a:pt x="806718" y="935776"/>
                </a:cubicBezTo>
                <a:lnTo>
                  <a:pt x="768181" y="935776"/>
                </a:lnTo>
                <a:lnTo>
                  <a:pt x="768181" y="973825"/>
                </a:lnTo>
                <a:lnTo>
                  <a:pt x="768181" y="1011873"/>
                </a:lnTo>
                <a:lnTo>
                  <a:pt x="806718" y="1011873"/>
                </a:lnTo>
                <a:cubicBezTo>
                  <a:pt x="842337" y="1011873"/>
                  <a:pt x="846312" y="1012635"/>
                  <a:pt x="859192" y="1022199"/>
                </a:cubicBezTo>
                <a:cubicBezTo>
                  <a:pt x="875777" y="1034466"/>
                  <a:pt x="893425" y="1067594"/>
                  <a:pt x="893425" y="1086411"/>
                </a:cubicBezTo>
                <a:cubicBezTo>
                  <a:pt x="893425" y="1104326"/>
                  <a:pt x="888123" y="1112572"/>
                  <a:pt x="860547" y="1137488"/>
                </a:cubicBezTo>
                <a:lnTo>
                  <a:pt x="837288" y="1158522"/>
                </a:lnTo>
                <a:lnTo>
                  <a:pt x="866573" y="1184130"/>
                </a:lnTo>
                <a:lnTo>
                  <a:pt x="895854" y="1209703"/>
                </a:lnTo>
                <a:lnTo>
                  <a:pt x="917311" y="1190368"/>
                </a:lnTo>
                <a:cubicBezTo>
                  <a:pt x="942964" y="1167254"/>
                  <a:pt x="956957" y="1160219"/>
                  <a:pt x="977301" y="1160219"/>
                </a:cubicBezTo>
                <a:cubicBezTo>
                  <a:pt x="998602" y="1160219"/>
                  <a:pt x="1036190" y="1175778"/>
                  <a:pt x="1050127" y="1190368"/>
                </a:cubicBezTo>
                <a:cubicBezTo>
                  <a:pt x="1060966" y="1201699"/>
                  <a:pt x="1061853" y="1205198"/>
                  <a:pt x="1061853" y="1236594"/>
                </a:cubicBezTo>
                <a:lnTo>
                  <a:pt x="1061853" y="1270519"/>
                </a:lnTo>
                <a:lnTo>
                  <a:pt x="1105041" y="1270519"/>
                </a:lnTo>
                <a:lnTo>
                  <a:pt x="1148228" y="1270519"/>
                </a:lnTo>
                <a:close/>
                <a:moveTo>
                  <a:pt x="1064522" y="1121998"/>
                </a:moveTo>
                <a:cubicBezTo>
                  <a:pt x="1037194" y="1115934"/>
                  <a:pt x="998301" y="1095663"/>
                  <a:pt x="979419" y="1077609"/>
                </a:cubicBezTo>
                <a:cubicBezTo>
                  <a:pt x="969719" y="1068357"/>
                  <a:pt x="955633" y="1049332"/>
                  <a:pt x="948117" y="1035367"/>
                </a:cubicBezTo>
                <a:cubicBezTo>
                  <a:pt x="935743" y="1012358"/>
                  <a:pt x="934450" y="1006536"/>
                  <a:pt x="934450" y="973617"/>
                </a:cubicBezTo>
                <a:cubicBezTo>
                  <a:pt x="934450" y="939345"/>
                  <a:pt x="935358" y="935672"/>
                  <a:pt x="950581" y="908539"/>
                </a:cubicBezTo>
                <a:cubicBezTo>
                  <a:pt x="970007" y="873922"/>
                  <a:pt x="995015" y="852368"/>
                  <a:pt x="1035164" y="835596"/>
                </a:cubicBezTo>
                <a:cubicBezTo>
                  <a:pt x="1061254" y="824715"/>
                  <a:pt x="1067938" y="823572"/>
                  <a:pt x="1105041" y="823572"/>
                </a:cubicBezTo>
                <a:cubicBezTo>
                  <a:pt x="1142143" y="823572"/>
                  <a:pt x="1148827" y="824715"/>
                  <a:pt x="1174917" y="835596"/>
                </a:cubicBezTo>
                <a:cubicBezTo>
                  <a:pt x="1215066" y="852368"/>
                  <a:pt x="1240074" y="873922"/>
                  <a:pt x="1259500" y="908539"/>
                </a:cubicBezTo>
                <a:cubicBezTo>
                  <a:pt x="1274740" y="935707"/>
                  <a:pt x="1275631" y="939311"/>
                  <a:pt x="1275631" y="973825"/>
                </a:cubicBezTo>
                <a:cubicBezTo>
                  <a:pt x="1275631" y="1008338"/>
                  <a:pt x="1274740" y="1011942"/>
                  <a:pt x="1259500" y="1039110"/>
                </a:cubicBezTo>
                <a:cubicBezTo>
                  <a:pt x="1230316" y="1091123"/>
                  <a:pt x="1178469" y="1121617"/>
                  <a:pt x="1114754" y="1124285"/>
                </a:cubicBezTo>
                <a:cubicBezTo>
                  <a:pt x="1096346" y="1125083"/>
                  <a:pt x="1073743" y="1124008"/>
                  <a:pt x="1064522" y="1121998"/>
                </a:cubicBezTo>
                <a:close/>
                <a:moveTo>
                  <a:pt x="1160336" y="1054980"/>
                </a:moveTo>
                <a:cubicBezTo>
                  <a:pt x="1228306" y="1018110"/>
                  <a:pt x="1229658" y="931375"/>
                  <a:pt x="1162841" y="894055"/>
                </a:cubicBezTo>
                <a:cubicBezTo>
                  <a:pt x="1111465" y="865362"/>
                  <a:pt x="1044797" y="879501"/>
                  <a:pt x="1012314" y="925970"/>
                </a:cubicBezTo>
                <a:cubicBezTo>
                  <a:pt x="1000772" y="942498"/>
                  <a:pt x="999233" y="948078"/>
                  <a:pt x="999233" y="973513"/>
                </a:cubicBezTo>
                <a:cubicBezTo>
                  <a:pt x="999233" y="998185"/>
                  <a:pt x="1000966" y="1004942"/>
                  <a:pt x="1011205" y="1020294"/>
                </a:cubicBezTo>
                <a:cubicBezTo>
                  <a:pt x="1033660" y="1053941"/>
                  <a:pt x="1068309" y="1070019"/>
                  <a:pt x="1112830" y="1067490"/>
                </a:cubicBezTo>
                <a:cubicBezTo>
                  <a:pt x="1133217" y="1066346"/>
                  <a:pt x="1145144" y="1063193"/>
                  <a:pt x="1160336" y="1054980"/>
                </a:cubicBezTo>
                <a:close/>
                <a:moveTo>
                  <a:pt x="393817" y="1179209"/>
                </a:moveTo>
                <a:cubicBezTo>
                  <a:pt x="388626" y="1177373"/>
                  <a:pt x="382309" y="1172453"/>
                  <a:pt x="379779" y="1168293"/>
                </a:cubicBezTo>
                <a:cubicBezTo>
                  <a:pt x="376702" y="1163234"/>
                  <a:pt x="375177" y="1098434"/>
                  <a:pt x="375177" y="972577"/>
                </a:cubicBezTo>
                <a:cubicBezTo>
                  <a:pt x="375177" y="798968"/>
                  <a:pt x="375759" y="783860"/>
                  <a:pt x="382735" y="776583"/>
                </a:cubicBezTo>
                <a:cubicBezTo>
                  <a:pt x="386893" y="772286"/>
                  <a:pt x="395591" y="767643"/>
                  <a:pt x="402061" y="766291"/>
                </a:cubicBezTo>
                <a:cubicBezTo>
                  <a:pt x="411493" y="764316"/>
                  <a:pt x="416420" y="766118"/>
                  <a:pt x="426892" y="775336"/>
                </a:cubicBezTo>
                <a:lnTo>
                  <a:pt x="439960" y="786840"/>
                </a:lnTo>
                <a:lnTo>
                  <a:pt x="439960" y="973825"/>
                </a:lnTo>
                <a:lnTo>
                  <a:pt x="439960" y="1160809"/>
                </a:lnTo>
                <a:lnTo>
                  <a:pt x="427336" y="1171932"/>
                </a:lnTo>
                <a:cubicBezTo>
                  <a:pt x="414061" y="1183610"/>
                  <a:pt x="409199" y="1184650"/>
                  <a:pt x="393817" y="1179209"/>
                </a:cubicBezTo>
                <a:close/>
                <a:moveTo>
                  <a:pt x="1783185" y="1172314"/>
                </a:moveTo>
                <a:lnTo>
                  <a:pt x="1770121" y="1160809"/>
                </a:lnTo>
                <a:lnTo>
                  <a:pt x="1770121" y="973825"/>
                </a:lnTo>
                <a:lnTo>
                  <a:pt x="1770121" y="786840"/>
                </a:lnTo>
                <a:lnTo>
                  <a:pt x="1783185" y="775336"/>
                </a:lnTo>
                <a:cubicBezTo>
                  <a:pt x="1793660" y="766118"/>
                  <a:pt x="1798585" y="764316"/>
                  <a:pt x="1808020" y="766291"/>
                </a:cubicBezTo>
                <a:cubicBezTo>
                  <a:pt x="1814490" y="767643"/>
                  <a:pt x="1823188" y="772286"/>
                  <a:pt x="1827346" y="776583"/>
                </a:cubicBezTo>
                <a:cubicBezTo>
                  <a:pt x="1834322" y="783860"/>
                  <a:pt x="1834904" y="799003"/>
                  <a:pt x="1834904" y="973825"/>
                </a:cubicBezTo>
                <a:cubicBezTo>
                  <a:pt x="1834904" y="1148611"/>
                  <a:pt x="1834322" y="1163790"/>
                  <a:pt x="1827346" y="1171031"/>
                </a:cubicBezTo>
                <a:cubicBezTo>
                  <a:pt x="1823188" y="1175363"/>
                  <a:pt x="1814490" y="1180006"/>
                  <a:pt x="1808020" y="1181358"/>
                </a:cubicBezTo>
                <a:cubicBezTo>
                  <a:pt x="1798585" y="1183333"/>
                  <a:pt x="1793660" y="1181531"/>
                  <a:pt x="1783185" y="1172314"/>
                </a:cubicBezTo>
                <a:close/>
                <a:moveTo>
                  <a:pt x="321196" y="709080"/>
                </a:moveTo>
                <a:cubicBezTo>
                  <a:pt x="170766" y="679694"/>
                  <a:pt x="52418" y="578717"/>
                  <a:pt x="11833" y="445063"/>
                </a:cubicBezTo>
                <a:cubicBezTo>
                  <a:pt x="-812" y="403445"/>
                  <a:pt x="-2091" y="320626"/>
                  <a:pt x="9289" y="280603"/>
                </a:cubicBezTo>
                <a:cubicBezTo>
                  <a:pt x="50869" y="134335"/>
                  <a:pt x="176030" y="30793"/>
                  <a:pt x="342143" y="5220"/>
                </a:cubicBezTo>
                <a:cubicBezTo>
                  <a:pt x="422145" y="-7116"/>
                  <a:pt x="507106" y="4319"/>
                  <a:pt x="584637" y="37828"/>
                </a:cubicBezTo>
                <a:cubicBezTo>
                  <a:pt x="689274" y="83084"/>
                  <a:pt x="766469" y="164586"/>
                  <a:pt x="799222" y="264385"/>
                </a:cubicBezTo>
                <a:cubicBezTo>
                  <a:pt x="807979" y="291068"/>
                  <a:pt x="809178" y="302780"/>
                  <a:pt x="808953" y="359471"/>
                </a:cubicBezTo>
                <a:cubicBezTo>
                  <a:pt x="808717" y="418831"/>
                  <a:pt x="807719" y="426974"/>
                  <a:pt x="796814" y="458370"/>
                </a:cubicBezTo>
                <a:cubicBezTo>
                  <a:pt x="755408" y="577713"/>
                  <a:pt x="654185" y="666561"/>
                  <a:pt x="518978" y="702288"/>
                </a:cubicBezTo>
                <a:cubicBezTo>
                  <a:pt x="486897" y="710778"/>
                  <a:pt x="470908" y="712545"/>
                  <a:pt x="416206" y="713654"/>
                </a:cubicBezTo>
                <a:cubicBezTo>
                  <a:pt x="368805" y="714625"/>
                  <a:pt x="343314" y="713377"/>
                  <a:pt x="321196" y="709080"/>
                </a:cubicBezTo>
                <a:close/>
                <a:moveTo>
                  <a:pt x="479422" y="652596"/>
                </a:moveTo>
                <a:cubicBezTo>
                  <a:pt x="516147" y="645735"/>
                  <a:pt x="565163" y="627543"/>
                  <a:pt x="595432" y="609489"/>
                </a:cubicBezTo>
                <a:cubicBezTo>
                  <a:pt x="616091" y="597187"/>
                  <a:pt x="619356" y="593514"/>
                  <a:pt x="620499" y="581420"/>
                </a:cubicBezTo>
                <a:cubicBezTo>
                  <a:pt x="623136" y="553595"/>
                  <a:pt x="599448" y="520917"/>
                  <a:pt x="564140" y="503695"/>
                </a:cubicBezTo>
                <a:lnTo>
                  <a:pt x="541450" y="492606"/>
                </a:lnTo>
                <a:lnTo>
                  <a:pt x="414809" y="491463"/>
                </a:lnTo>
                <a:cubicBezTo>
                  <a:pt x="305321" y="490458"/>
                  <a:pt x="285209" y="491151"/>
                  <a:pt x="266306" y="496695"/>
                </a:cubicBezTo>
                <a:cubicBezTo>
                  <a:pt x="226931" y="508200"/>
                  <a:pt x="196610" y="540011"/>
                  <a:pt x="191069" y="575634"/>
                </a:cubicBezTo>
                <a:lnTo>
                  <a:pt x="188505" y="592128"/>
                </a:lnTo>
                <a:lnTo>
                  <a:pt x="212720" y="606266"/>
                </a:lnTo>
                <a:cubicBezTo>
                  <a:pt x="246402" y="625983"/>
                  <a:pt x="285434" y="641473"/>
                  <a:pt x="323445" y="650240"/>
                </a:cubicBezTo>
                <a:cubicBezTo>
                  <a:pt x="362841" y="659319"/>
                  <a:pt x="437423" y="660463"/>
                  <a:pt x="479422" y="652596"/>
                </a:cubicBezTo>
                <a:close/>
                <a:moveTo>
                  <a:pt x="706853" y="502136"/>
                </a:moveTo>
                <a:cubicBezTo>
                  <a:pt x="732347" y="461974"/>
                  <a:pt x="743280" y="425346"/>
                  <a:pt x="745594" y="372328"/>
                </a:cubicBezTo>
                <a:cubicBezTo>
                  <a:pt x="748145" y="314008"/>
                  <a:pt x="740837" y="279632"/>
                  <a:pt x="715821" y="232262"/>
                </a:cubicBezTo>
                <a:cubicBezTo>
                  <a:pt x="616719" y="44620"/>
                  <a:pt x="343820" y="-1364"/>
                  <a:pt x="170704" y="140468"/>
                </a:cubicBezTo>
                <a:cubicBezTo>
                  <a:pt x="67235" y="225228"/>
                  <a:pt x="35809" y="365293"/>
                  <a:pt x="94188" y="481552"/>
                </a:cubicBezTo>
                <a:cubicBezTo>
                  <a:pt x="104767" y="502621"/>
                  <a:pt x="128487" y="536372"/>
                  <a:pt x="132700" y="536372"/>
                </a:cubicBezTo>
                <a:cubicBezTo>
                  <a:pt x="134235" y="536338"/>
                  <a:pt x="141027" y="527016"/>
                  <a:pt x="147798" y="515615"/>
                </a:cubicBezTo>
                <a:cubicBezTo>
                  <a:pt x="170257" y="477740"/>
                  <a:pt x="216913" y="447177"/>
                  <a:pt x="266344" y="437925"/>
                </a:cubicBezTo>
                <a:cubicBezTo>
                  <a:pt x="295220" y="432553"/>
                  <a:pt x="512106" y="432207"/>
                  <a:pt x="544097" y="437509"/>
                </a:cubicBezTo>
                <a:cubicBezTo>
                  <a:pt x="595736" y="446068"/>
                  <a:pt x="647490" y="480478"/>
                  <a:pt x="668406" y="520155"/>
                </a:cubicBezTo>
                <a:cubicBezTo>
                  <a:pt x="678750" y="539768"/>
                  <a:pt x="678760" y="539768"/>
                  <a:pt x="686162" y="531417"/>
                </a:cubicBezTo>
                <a:cubicBezTo>
                  <a:pt x="690237" y="526808"/>
                  <a:pt x="699548" y="513640"/>
                  <a:pt x="706853" y="502136"/>
                </a:cubicBezTo>
                <a:close/>
                <a:moveTo>
                  <a:pt x="375749" y="383901"/>
                </a:moveTo>
                <a:cubicBezTo>
                  <a:pt x="330753" y="376139"/>
                  <a:pt x="290144" y="349006"/>
                  <a:pt x="266895" y="311270"/>
                </a:cubicBezTo>
                <a:cubicBezTo>
                  <a:pt x="252712" y="288226"/>
                  <a:pt x="252095" y="285523"/>
                  <a:pt x="252095" y="247267"/>
                </a:cubicBezTo>
                <a:cubicBezTo>
                  <a:pt x="252095" y="209011"/>
                  <a:pt x="252712" y="206308"/>
                  <a:pt x="266895" y="183299"/>
                </a:cubicBezTo>
                <a:cubicBezTo>
                  <a:pt x="307241" y="117736"/>
                  <a:pt x="395023" y="91227"/>
                  <a:pt x="472149" y="121271"/>
                </a:cubicBezTo>
                <a:cubicBezTo>
                  <a:pt x="501700" y="132776"/>
                  <a:pt x="536100" y="163512"/>
                  <a:pt x="550498" y="191268"/>
                </a:cubicBezTo>
                <a:cubicBezTo>
                  <a:pt x="560883" y="211298"/>
                  <a:pt x="562792" y="219926"/>
                  <a:pt x="562862" y="247267"/>
                </a:cubicBezTo>
                <a:cubicBezTo>
                  <a:pt x="562938" y="275613"/>
                  <a:pt x="561299" y="282682"/>
                  <a:pt x="549631" y="304339"/>
                </a:cubicBezTo>
                <a:cubicBezTo>
                  <a:pt x="526931" y="346477"/>
                  <a:pt x="487392" y="374233"/>
                  <a:pt x="436509" y="383728"/>
                </a:cubicBezTo>
                <a:cubicBezTo>
                  <a:pt x="410758" y="388545"/>
                  <a:pt x="402657" y="388579"/>
                  <a:pt x="375749" y="383901"/>
                </a:cubicBezTo>
                <a:close/>
                <a:moveTo>
                  <a:pt x="434312" y="325235"/>
                </a:moveTo>
                <a:cubicBezTo>
                  <a:pt x="449888" y="321181"/>
                  <a:pt x="461157" y="314735"/>
                  <a:pt x="473635" y="302815"/>
                </a:cubicBezTo>
                <a:cubicBezTo>
                  <a:pt x="510481" y="267608"/>
                  <a:pt x="509244" y="222976"/>
                  <a:pt x="470499" y="189883"/>
                </a:cubicBezTo>
                <a:cubicBezTo>
                  <a:pt x="436044" y="160428"/>
                  <a:pt x="393668" y="156928"/>
                  <a:pt x="354465" y="180284"/>
                </a:cubicBezTo>
                <a:cubicBezTo>
                  <a:pt x="298301" y="213758"/>
                  <a:pt x="301444" y="291726"/>
                  <a:pt x="360034" y="318582"/>
                </a:cubicBezTo>
                <a:cubicBezTo>
                  <a:pt x="389135" y="331923"/>
                  <a:pt x="403807" y="333239"/>
                  <a:pt x="434312" y="325235"/>
                </a:cubicBezTo>
                <a:close/>
                <a:moveTo>
                  <a:pt x="1723105" y="709288"/>
                </a:moveTo>
                <a:cubicBezTo>
                  <a:pt x="1572588" y="680526"/>
                  <a:pt x="1458208" y="587900"/>
                  <a:pt x="1413267" y="458370"/>
                </a:cubicBezTo>
                <a:cubicBezTo>
                  <a:pt x="1402362" y="426974"/>
                  <a:pt x="1401364" y="418831"/>
                  <a:pt x="1401128" y="359471"/>
                </a:cubicBezTo>
                <a:cubicBezTo>
                  <a:pt x="1400903" y="302780"/>
                  <a:pt x="1402102" y="291068"/>
                  <a:pt x="1410859" y="264385"/>
                </a:cubicBezTo>
                <a:cubicBezTo>
                  <a:pt x="1451551" y="140399"/>
                  <a:pt x="1563756" y="43788"/>
                  <a:pt x="1705342" y="10833"/>
                </a:cubicBezTo>
                <a:cubicBezTo>
                  <a:pt x="1752698" y="-221"/>
                  <a:pt x="1846876" y="-1295"/>
                  <a:pt x="1892066" y="8685"/>
                </a:cubicBezTo>
                <a:cubicBezTo>
                  <a:pt x="2014286" y="35644"/>
                  <a:pt x="2114015" y="104534"/>
                  <a:pt x="2168489" y="199724"/>
                </a:cubicBezTo>
                <a:cubicBezTo>
                  <a:pt x="2183078" y="225193"/>
                  <a:pt x="2201998" y="278835"/>
                  <a:pt x="2201998" y="294741"/>
                </a:cubicBezTo>
                <a:cubicBezTo>
                  <a:pt x="2201998" y="309191"/>
                  <a:pt x="2186092" y="323329"/>
                  <a:pt x="2169841" y="323329"/>
                </a:cubicBezTo>
                <a:cubicBezTo>
                  <a:pt x="2157539" y="323329"/>
                  <a:pt x="2142292" y="310611"/>
                  <a:pt x="2139035" y="297547"/>
                </a:cubicBezTo>
                <a:cubicBezTo>
                  <a:pt x="2110793" y="184893"/>
                  <a:pt x="2014355" y="96286"/>
                  <a:pt x="1886730" y="65792"/>
                </a:cubicBezTo>
                <a:cubicBezTo>
                  <a:pt x="1848103" y="56540"/>
                  <a:pt x="1757383" y="56748"/>
                  <a:pt x="1718548" y="66139"/>
                </a:cubicBezTo>
                <a:cubicBezTo>
                  <a:pt x="1594828" y="96078"/>
                  <a:pt x="1497594" y="184511"/>
                  <a:pt x="1470426" y="291761"/>
                </a:cubicBezTo>
                <a:cubicBezTo>
                  <a:pt x="1460526" y="330848"/>
                  <a:pt x="1461285" y="394401"/>
                  <a:pt x="1472096" y="431653"/>
                </a:cubicBezTo>
                <a:cubicBezTo>
                  <a:pt x="1481259" y="463186"/>
                  <a:pt x="1503737" y="507507"/>
                  <a:pt x="1520828" y="527709"/>
                </a:cubicBezTo>
                <a:lnTo>
                  <a:pt x="1531210" y="540011"/>
                </a:lnTo>
                <a:lnTo>
                  <a:pt x="1541620" y="520259"/>
                </a:lnTo>
                <a:cubicBezTo>
                  <a:pt x="1562588" y="480478"/>
                  <a:pt x="1614286" y="446103"/>
                  <a:pt x="1665984" y="437509"/>
                </a:cubicBezTo>
                <a:cubicBezTo>
                  <a:pt x="1697975" y="432207"/>
                  <a:pt x="1914868" y="432553"/>
                  <a:pt x="1943733" y="437925"/>
                </a:cubicBezTo>
                <a:cubicBezTo>
                  <a:pt x="1993182" y="447177"/>
                  <a:pt x="2039824" y="477740"/>
                  <a:pt x="2062279" y="515615"/>
                </a:cubicBezTo>
                <a:cubicBezTo>
                  <a:pt x="2069036" y="527016"/>
                  <a:pt x="2075898" y="536338"/>
                  <a:pt x="2077492" y="536372"/>
                </a:cubicBezTo>
                <a:cubicBezTo>
                  <a:pt x="2087471" y="536372"/>
                  <a:pt x="2122713" y="472300"/>
                  <a:pt x="2138030" y="426177"/>
                </a:cubicBezTo>
                <a:cubicBezTo>
                  <a:pt x="2147940" y="396411"/>
                  <a:pt x="2181449" y="390347"/>
                  <a:pt x="2197424" y="415435"/>
                </a:cubicBezTo>
                <a:cubicBezTo>
                  <a:pt x="2203280" y="424618"/>
                  <a:pt x="2203141" y="428222"/>
                  <a:pt x="2196245" y="451509"/>
                </a:cubicBezTo>
                <a:cubicBezTo>
                  <a:pt x="2192018" y="465751"/>
                  <a:pt x="2179093" y="494512"/>
                  <a:pt x="2167484" y="515442"/>
                </a:cubicBezTo>
                <a:cubicBezTo>
                  <a:pt x="2111105" y="617147"/>
                  <a:pt x="2009885" y="685828"/>
                  <a:pt x="1881272" y="709669"/>
                </a:cubicBezTo>
                <a:cubicBezTo>
                  <a:pt x="1844184" y="716530"/>
                  <a:pt x="1759999" y="716322"/>
                  <a:pt x="1723105" y="709288"/>
                </a:cubicBezTo>
                <a:close/>
                <a:moveTo>
                  <a:pt x="1884956" y="650413"/>
                </a:moveTo>
                <a:cubicBezTo>
                  <a:pt x="1924467" y="641508"/>
                  <a:pt x="1962965" y="626399"/>
                  <a:pt x="1997375" y="606266"/>
                </a:cubicBezTo>
                <a:lnTo>
                  <a:pt x="2021563" y="592128"/>
                </a:lnTo>
                <a:lnTo>
                  <a:pt x="2018998" y="575599"/>
                </a:lnTo>
                <a:cubicBezTo>
                  <a:pt x="2013662" y="541293"/>
                  <a:pt x="1985593" y="510591"/>
                  <a:pt x="1948273" y="498289"/>
                </a:cubicBezTo>
                <a:cubicBezTo>
                  <a:pt x="1927308" y="491393"/>
                  <a:pt x="1914591" y="490735"/>
                  <a:pt x="1805591" y="490735"/>
                </a:cubicBezTo>
                <a:cubicBezTo>
                  <a:pt x="1739766" y="490735"/>
                  <a:pt x="1679041" y="492433"/>
                  <a:pt x="1670645" y="494512"/>
                </a:cubicBezTo>
                <a:cubicBezTo>
                  <a:pt x="1625683" y="505497"/>
                  <a:pt x="1591287" y="540600"/>
                  <a:pt x="1591031" y="575703"/>
                </a:cubicBezTo>
                <a:cubicBezTo>
                  <a:pt x="1590899" y="594138"/>
                  <a:pt x="1591270" y="594658"/>
                  <a:pt x="1614649" y="609073"/>
                </a:cubicBezTo>
                <a:cubicBezTo>
                  <a:pt x="1643477" y="626815"/>
                  <a:pt x="1691595" y="645077"/>
                  <a:pt x="1728039" y="652111"/>
                </a:cubicBezTo>
                <a:cubicBezTo>
                  <a:pt x="1770513" y="660324"/>
                  <a:pt x="1844516" y="659492"/>
                  <a:pt x="1884956" y="650413"/>
                </a:cubicBezTo>
                <a:close/>
                <a:moveTo>
                  <a:pt x="879696" y="376521"/>
                </a:moveTo>
                <a:cubicBezTo>
                  <a:pt x="869220" y="367268"/>
                  <a:pt x="867183" y="362937"/>
                  <a:pt x="869414" y="354620"/>
                </a:cubicBezTo>
                <a:cubicBezTo>
                  <a:pt x="870946" y="348937"/>
                  <a:pt x="876217" y="341279"/>
                  <a:pt x="881130" y="337606"/>
                </a:cubicBezTo>
                <a:cubicBezTo>
                  <a:pt x="889374" y="331472"/>
                  <a:pt x="906579" y="330953"/>
                  <a:pt x="1105041" y="330953"/>
                </a:cubicBezTo>
                <a:cubicBezTo>
                  <a:pt x="1303502" y="330953"/>
                  <a:pt x="1320707" y="331472"/>
                  <a:pt x="1328951" y="337606"/>
                </a:cubicBezTo>
                <a:cubicBezTo>
                  <a:pt x="1333864" y="341279"/>
                  <a:pt x="1339135" y="348937"/>
                  <a:pt x="1340667" y="354620"/>
                </a:cubicBezTo>
                <a:cubicBezTo>
                  <a:pt x="1342898" y="362937"/>
                  <a:pt x="1340857" y="367268"/>
                  <a:pt x="1330385" y="376521"/>
                </a:cubicBezTo>
                <a:lnTo>
                  <a:pt x="1317321" y="388025"/>
                </a:lnTo>
                <a:lnTo>
                  <a:pt x="1105041" y="388025"/>
                </a:lnTo>
                <a:lnTo>
                  <a:pt x="892760" y="388025"/>
                </a:lnTo>
                <a:close/>
                <a:moveTo>
                  <a:pt x="1775201" y="384109"/>
                </a:moveTo>
                <a:cubicBezTo>
                  <a:pt x="1724515" y="374892"/>
                  <a:pt x="1683102" y="346096"/>
                  <a:pt x="1660512" y="304339"/>
                </a:cubicBezTo>
                <a:cubicBezTo>
                  <a:pt x="1648768" y="282612"/>
                  <a:pt x="1647143" y="275647"/>
                  <a:pt x="1647219" y="247267"/>
                </a:cubicBezTo>
                <a:cubicBezTo>
                  <a:pt x="1647334" y="204090"/>
                  <a:pt x="1661340" y="175918"/>
                  <a:pt x="1697205" y="146671"/>
                </a:cubicBezTo>
                <a:cubicBezTo>
                  <a:pt x="1728313" y="121305"/>
                  <a:pt x="1759954" y="110008"/>
                  <a:pt x="1800799" y="109662"/>
                </a:cubicBezTo>
                <a:cubicBezTo>
                  <a:pt x="1871150" y="109073"/>
                  <a:pt x="1926823" y="142790"/>
                  <a:pt x="1951773" y="201075"/>
                </a:cubicBezTo>
                <a:cubicBezTo>
                  <a:pt x="1959258" y="218540"/>
                  <a:pt x="1960644" y="228589"/>
                  <a:pt x="1959258" y="254890"/>
                </a:cubicBezTo>
                <a:cubicBezTo>
                  <a:pt x="1957802" y="282682"/>
                  <a:pt x="1955515" y="290582"/>
                  <a:pt x="1942971" y="311235"/>
                </a:cubicBezTo>
                <a:cubicBezTo>
                  <a:pt x="1909982" y="365639"/>
                  <a:pt x="1840275" y="395926"/>
                  <a:pt x="1775201" y="384109"/>
                </a:cubicBezTo>
                <a:close/>
                <a:moveTo>
                  <a:pt x="1847330" y="319794"/>
                </a:moveTo>
                <a:cubicBezTo>
                  <a:pt x="1881452" y="304443"/>
                  <a:pt x="1897576" y="276895"/>
                  <a:pt x="1894492" y="239227"/>
                </a:cubicBezTo>
                <a:cubicBezTo>
                  <a:pt x="1888809" y="169958"/>
                  <a:pt x="1797098" y="140711"/>
                  <a:pt x="1739582" y="189883"/>
                </a:cubicBezTo>
                <a:cubicBezTo>
                  <a:pt x="1700820" y="223010"/>
                  <a:pt x="1699596" y="267608"/>
                  <a:pt x="1736487" y="302849"/>
                </a:cubicBezTo>
                <a:cubicBezTo>
                  <a:pt x="1765561" y="330641"/>
                  <a:pt x="1808554" y="337190"/>
                  <a:pt x="1847330" y="319794"/>
                </a:cubicBezTo>
                <a:close/>
              </a:path>
            </a:pathLst>
          </a:custGeom>
          <a:solidFill>
            <a:srgbClr val="003F62"/>
          </a:solidFill>
          <a:ln w="4048" cap="flat">
            <a:noFill/>
            <a:prstDash val="solid"/>
            <a:miter/>
          </a:ln>
        </p:spPr>
        <p:txBody>
          <a:bodyPr rtlCol="0" anchor="ctr"/>
          <a:lstStyle/>
          <a:p>
            <a:endParaRPr lang="en-IN"/>
          </a:p>
        </p:txBody>
      </p:sp>
      <p:sp>
        <p:nvSpPr>
          <p:cNvPr id="91" name="Freeform: Shape 90">
            <a:extLst>
              <a:ext uri="{FF2B5EF4-FFF2-40B4-BE49-F238E27FC236}">
                <a16:creationId xmlns:a16="http://schemas.microsoft.com/office/drawing/2014/main" id="{A5EE49AA-2F01-443E-A990-81A34E77A0A5}"/>
              </a:ext>
            </a:extLst>
          </p:cNvPr>
          <p:cNvSpPr/>
          <p:nvPr/>
        </p:nvSpPr>
        <p:spPr>
          <a:xfrm>
            <a:off x="1422425" y="2190270"/>
            <a:ext cx="365760" cy="365760"/>
          </a:xfrm>
          <a:custGeom>
            <a:avLst/>
            <a:gdLst>
              <a:gd name="connsiteX0" fmla="*/ 832047 w 2289927"/>
              <a:gd name="connsiteY0" fmla="*/ 2651422 h 2664334"/>
              <a:gd name="connsiteX1" fmla="*/ 865022 w 2289927"/>
              <a:gd name="connsiteY1" fmla="*/ 2450970 h 2664334"/>
              <a:gd name="connsiteX2" fmla="*/ 915855 w 2289927"/>
              <a:gd name="connsiteY2" fmla="*/ 2262046 h 2664334"/>
              <a:gd name="connsiteX3" fmla="*/ 918735 w 2289927"/>
              <a:gd name="connsiteY3" fmla="*/ 2237112 h 2664334"/>
              <a:gd name="connsiteX4" fmla="*/ 866355 w 2289927"/>
              <a:gd name="connsiteY4" fmla="*/ 2174796 h 2664334"/>
              <a:gd name="connsiteX5" fmla="*/ 723255 w 2289927"/>
              <a:gd name="connsiteY5" fmla="*/ 1951186 h 2664334"/>
              <a:gd name="connsiteX6" fmla="*/ 640022 w 2289927"/>
              <a:gd name="connsiteY6" fmla="*/ 1664122 h 2664334"/>
              <a:gd name="connsiteX7" fmla="*/ 615435 w 2289927"/>
              <a:gd name="connsiteY7" fmla="*/ 1641499 h 2664334"/>
              <a:gd name="connsiteX8" fmla="*/ 537531 w 2289927"/>
              <a:gd name="connsiteY8" fmla="*/ 1581552 h 2664334"/>
              <a:gd name="connsiteX9" fmla="*/ 526586 w 2289927"/>
              <a:gd name="connsiteY9" fmla="*/ 1383473 h 2664334"/>
              <a:gd name="connsiteX10" fmla="*/ 476762 w 2289927"/>
              <a:gd name="connsiteY10" fmla="*/ 1150747 h 2664334"/>
              <a:gd name="connsiteX11" fmla="*/ 352382 w 2289927"/>
              <a:gd name="connsiteY11" fmla="*/ 1005944 h 2664334"/>
              <a:gd name="connsiteX12" fmla="*/ 300362 w 2289927"/>
              <a:gd name="connsiteY12" fmla="*/ 849275 h 2664334"/>
              <a:gd name="connsiteX13" fmla="*/ 309471 w 2289927"/>
              <a:gd name="connsiteY13" fmla="*/ 655754 h 2664334"/>
              <a:gd name="connsiteX14" fmla="*/ 620654 w 2289927"/>
              <a:gd name="connsiteY14" fmla="*/ 337017 h 2664334"/>
              <a:gd name="connsiteX15" fmla="*/ 791979 w 2289927"/>
              <a:gd name="connsiteY15" fmla="*/ 344670 h 2664334"/>
              <a:gd name="connsiteX16" fmla="*/ 1006251 w 2289927"/>
              <a:gd name="connsiteY16" fmla="*/ 510638 h 2664334"/>
              <a:gd name="connsiteX17" fmla="*/ 1069107 w 2289927"/>
              <a:gd name="connsiteY17" fmla="*/ 656168 h 2664334"/>
              <a:gd name="connsiteX18" fmla="*/ 1080339 w 2289927"/>
              <a:gd name="connsiteY18" fmla="*/ 691307 h 2664334"/>
              <a:gd name="connsiteX19" fmla="*/ 1114395 w 2289927"/>
              <a:gd name="connsiteY19" fmla="*/ 675622 h 2664334"/>
              <a:gd name="connsiteX20" fmla="*/ 1484223 w 2289927"/>
              <a:gd name="connsiteY20" fmla="*/ 593798 h 2664334"/>
              <a:gd name="connsiteX21" fmla="*/ 2061267 w 2289927"/>
              <a:gd name="connsiteY21" fmla="*/ 895730 h 2664334"/>
              <a:gd name="connsiteX22" fmla="*/ 2215708 w 2289927"/>
              <a:gd name="connsiteY22" fmla="*/ 1290096 h 2664334"/>
              <a:gd name="connsiteX23" fmla="*/ 2196340 w 2289927"/>
              <a:gd name="connsiteY23" fmla="*/ 1429905 h 2664334"/>
              <a:gd name="connsiteX24" fmla="*/ 2238891 w 2289927"/>
              <a:gd name="connsiteY24" fmla="*/ 1607583 h 2664334"/>
              <a:gd name="connsiteX25" fmla="*/ 2277699 w 2289927"/>
              <a:gd name="connsiteY25" fmla="*/ 1808046 h 2664334"/>
              <a:gd name="connsiteX26" fmla="*/ 2210667 w 2289927"/>
              <a:gd name="connsiteY26" fmla="*/ 1875553 h 2664334"/>
              <a:gd name="connsiteX27" fmla="*/ 2169843 w 2289927"/>
              <a:gd name="connsiteY27" fmla="*/ 1911748 h 2664334"/>
              <a:gd name="connsiteX28" fmla="*/ 2165560 w 2289927"/>
              <a:gd name="connsiteY28" fmla="*/ 2014787 h 2664334"/>
              <a:gd name="connsiteX29" fmla="*/ 2125888 w 2289927"/>
              <a:gd name="connsiteY29" fmla="*/ 2329398 h 2664334"/>
              <a:gd name="connsiteX30" fmla="*/ 2043304 w 2289927"/>
              <a:gd name="connsiteY30" fmla="*/ 2407040 h 2664334"/>
              <a:gd name="connsiteX31" fmla="*/ 1832667 w 2289927"/>
              <a:gd name="connsiteY31" fmla="*/ 2426998 h 2664334"/>
              <a:gd name="connsiteX32" fmla="*/ 1668867 w 2289927"/>
              <a:gd name="connsiteY32" fmla="*/ 2422480 h 2664334"/>
              <a:gd name="connsiteX33" fmla="*/ 1636611 w 2289927"/>
              <a:gd name="connsiteY33" fmla="*/ 2422336 h 2664334"/>
              <a:gd name="connsiteX34" fmla="*/ 1629087 w 2289927"/>
              <a:gd name="connsiteY34" fmla="*/ 2440559 h 2664334"/>
              <a:gd name="connsiteX35" fmla="*/ 1609036 w 2289927"/>
              <a:gd name="connsiteY35" fmla="*/ 2518651 h 2664334"/>
              <a:gd name="connsiteX36" fmla="*/ 1568212 w 2289927"/>
              <a:gd name="connsiteY36" fmla="*/ 2637519 h 2664334"/>
              <a:gd name="connsiteX37" fmla="*/ 1189456 w 2289927"/>
              <a:gd name="connsiteY37" fmla="*/ 2664422 h 2664334"/>
              <a:gd name="connsiteX38" fmla="*/ 845727 w 2289927"/>
              <a:gd name="connsiteY38" fmla="*/ 2664422 h 2664334"/>
              <a:gd name="connsiteX39" fmla="*/ 1509171 w 2289927"/>
              <a:gd name="connsiteY39" fmla="*/ 2540776 h 2664334"/>
              <a:gd name="connsiteX40" fmla="*/ 1525731 w 2289927"/>
              <a:gd name="connsiteY40" fmla="*/ 2467185 h 2664334"/>
              <a:gd name="connsiteX41" fmla="*/ 1578148 w 2289927"/>
              <a:gd name="connsiteY41" fmla="*/ 2345562 h 2664334"/>
              <a:gd name="connsiteX42" fmla="*/ 1763260 w 2289927"/>
              <a:gd name="connsiteY42" fmla="*/ 2321453 h 2664334"/>
              <a:gd name="connsiteX43" fmla="*/ 2004244 w 2289927"/>
              <a:gd name="connsiteY43" fmla="*/ 2313648 h 2664334"/>
              <a:gd name="connsiteX44" fmla="*/ 2065012 w 2289927"/>
              <a:gd name="connsiteY44" fmla="*/ 2243092 h 2664334"/>
              <a:gd name="connsiteX45" fmla="*/ 2074767 w 2289927"/>
              <a:gd name="connsiteY45" fmla="*/ 2049743 h 2664334"/>
              <a:gd name="connsiteX46" fmla="*/ 2074948 w 2289927"/>
              <a:gd name="connsiteY46" fmla="*/ 1880186 h 2664334"/>
              <a:gd name="connsiteX47" fmla="*/ 2086468 w 2289927"/>
              <a:gd name="connsiteY47" fmla="*/ 1860973 h 2664334"/>
              <a:gd name="connsiteX48" fmla="*/ 2147560 w 2289927"/>
              <a:gd name="connsiteY48" fmla="*/ 1800108 h 2664334"/>
              <a:gd name="connsiteX49" fmla="*/ 2197060 w 2289927"/>
              <a:gd name="connsiteY49" fmla="*/ 1758456 h 2664334"/>
              <a:gd name="connsiteX50" fmla="*/ 2188420 w 2289927"/>
              <a:gd name="connsiteY50" fmla="*/ 1733778 h 2664334"/>
              <a:gd name="connsiteX51" fmla="*/ 2149936 w 2289927"/>
              <a:gd name="connsiteY51" fmla="*/ 1636218 h 2664334"/>
              <a:gd name="connsiteX52" fmla="*/ 2095719 w 2289927"/>
              <a:gd name="connsiteY52" fmla="*/ 1465041 h 2664334"/>
              <a:gd name="connsiteX53" fmla="*/ 2107564 w 2289927"/>
              <a:gd name="connsiteY53" fmla="*/ 1406045 h 2664334"/>
              <a:gd name="connsiteX54" fmla="*/ 2116924 w 2289927"/>
              <a:gd name="connsiteY54" fmla="*/ 1210208 h 2664334"/>
              <a:gd name="connsiteX55" fmla="*/ 1762144 w 2289927"/>
              <a:gd name="connsiteY55" fmla="*/ 779900 h 2664334"/>
              <a:gd name="connsiteX56" fmla="*/ 1481127 w 2289927"/>
              <a:gd name="connsiteY56" fmla="*/ 698097 h 2664334"/>
              <a:gd name="connsiteX57" fmla="*/ 1106115 w 2289927"/>
              <a:gd name="connsiteY57" fmla="*/ 796129 h 2664334"/>
              <a:gd name="connsiteX58" fmla="*/ 1080411 w 2289927"/>
              <a:gd name="connsiteY58" fmla="*/ 828680 h 2664334"/>
              <a:gd name="connsiteX59" fmla="*/ 1048407 w 2289927"/>
              <a:gd name="connsiteY59" fmla="*/ 959482 h 2664334"/>
              <a:gd name="connsiteX60" fmla="*/ 904659 w 2289927"/>
              <a:gd name="connsiteY60" fmla="*/ 1148281 h 2664334"/>
              <a:gd name="connsiteX61" fmla="*/ 849650 w 2289927"/>
              <a:gd name="connsiteY61" fmla="*/ 1391529 h 2664334"/>
              <a:gd name="connsiteX62" fmla="*/ 847347 w 2289927"/>
              <a:gd name="connsiteY62" fmla="*/ 1573744 h 2664334"/>
              <a:gd name="connsiteX63" fmla="*/ 836043 w 2289927"/>
              <a:gd name="connsiteY63" fmla="*/ 1592568 h 2664334"/>
              <a:gd name="connsiteX64" fmla="*/ 744351 w 2289927"/>
              <a:gd name="connsiteY64" fmla="*/ 1643900 h 2664334"/>
              <a:gd name="connsiteX65" fmla="*/ 731426 w 2289927"/>
              <a:gd name="connsiteY65" fmla="*/ 1653134 h 2664334"/>
              <a:gd name="connsiteX66" fmla="*/ 739022 w 2289927"/>
              <a:gd name="connsiteY66" fmla="*/ 1695683 h 2664334"/>
              <a:gd name="connsiteX67" fmla="*/ 801267 w 2289927"/>
              <a:gd name="connsiteY67" fmla="*/ 1896520 h 2664334"/>
              <a:gd name="connsiteX68" fmla="*/ 942927 w 2289927"/>
              <a:gd name="connsiteY68" fmla="*/ 2115349 h 2664334"/>
              <a:gd name="connsiteX69" fmla="*/ 1001787 w 2289927"/>
              <a:gd name="connsiteY69" fmla="*/ 2192764 h 2664334"/>
              <a:gd name="connsiteX70" fmla="*/ 1006575 w 2289927"/>
              <a:gd name="connsiteY70" fmla="*/ 2247607 h 2664334"/>
              <a:gd name="connsiteX71" fmla="*/ 929319 w 2289927"/>
              <a:gd name="connsiteY71" fmla="*/ 2553790 h 2664334"/>
              <a:gd name="connsiteX72" fmla="*/ 1215879 w 2289927"/>
              <a:gd name="connsiteY72" fmla="*/ 2560299 h 2664334"/>
              <a:gd name="connsiteX73" fmla="*/ 1504635 w 2289927"/>
              <a:gd name="connsiteY73" fmla="*/ 2560299 h 2664334"/>
              <a:gd name="connsiteX74" fmla="*/ 1861324 w 2289927"/>
              <a:gd name="connsiteY74" fmla="*/ 1099954 h 2664334"/>
              <a:gd name="connsiteX75" fmla="*/ 1835331 w 2289927"/>
              <a:gd name="connsiteY75" fmla="*/ 1042873 h 2664334"/>
              <a:gd name="connsiteX76" fmla="*/ 1879792 w 2289927"/>
              <a:gd name="connsiteY76" fmla="*/ 1003676 h 2664334"/>
              <a:gd name="connsiteX77" fmla="*/ 1896279 w 2289927"/>
              <a:gd name="connsiteY77" fmla="*/ 1102201 h 2664334"/>
              <a:gd name="connsiteX78" fmla="*/ 1861324 w 2289927"/>
              <a:gd name="connsiteY78" fmla="*/ 1099954 h 2664334"/>
              <a:gd name="connsiteX79" fmla="*/ 1751632 w 2289927"/>
              <a:gd name="connsiteY79" fmla="*/ 1005778 h 2664334"/>
              <a:gd name="connsiteX80" fmla="*/ 1323123 w 2289927"/>
              <a:gd name="connsiteY80" fmla="*/ 918341 h 2664334"/>
              <a:gd name="connsiteX81" fmla="*/ 1249647 w 2289927"/>
              <a:gd name="connsiteY81" fmla="*/ 909748 h 2664334"/>
              <a:gd name="connsiteX82" fmla="*/ 1238811 w 2289927"/>
              <a:gd name="connsiteY82" fmla="*/ 871491 h 2664334"/>
              <a:gd name="connsiteX83" fmla="*/ 1305123 w 2289927"/>
              <a:gd name="connsiteY83" fmla="*/ 816944 h 2664334"/>
              <a:gd name="connsiteX84" fmla="*/ 1732155 w 2289927"/>
              <a:gd name="connsiteY84" fmla="*/ 876470 h 2664334"/>
              <a:gd name="connsiteX85" fmla="*/ 1830148 w 2289927"/>
              <a:gd name="connsiteY85" fmla="*/ 947656 h 2664334"/>
              <a:gd name="connsiteX86" fmla="*/ 1823776 w 2289927"/>
              <a:gd name="connsiteY86" fmla="*/ 1009281 h 2664334"/>
              <a:gd name="connsiteX87" fmla="*/ 1751632 w 2289927"/>
              <a:gd name="connsiteY87" fmla="*/ 1005778 h 2664334"/>
              <a:gd name="connsiteX88" fmla="*/ 757346 w 2289927"/>
              <a:gd name="connsiteY88" fmla="*/ 1500858 h 2664334"/>
              <a:gd name="connsiteX89" fmla="*/ 757346 w 2289927"/>
              <a:gd name="connsiteY89" fmla="*/ 1461812 h 2664334"/>
              <a:gd name="connsiteX90" fmla="*/ 688118 w 2289927"/>
              <a:gd name="connsiteY90" fmla="*/ 1461812 h 2664334"/>
              <a:gd name="connsiteX91" fmla="*/ 618890 w 2289927"/>
              <a:gd name="connsiteY91" fmla="*/ 1461812 h 2664334"/>
              <a:gd name="connsiteX92" fmla="*/ 618890 w 2289927"/>
              <a:gd name="connsiteY92" fmla="*/ 1500858 h 2664334"/>
              <a:gd name="connsiteX93" fmla="*/ 618890 w 2289927"/>
              <a:gd name="connsiteY93" fmla="*/ 1539903 h 2664334"/>
              <a:gd name="connsiteX94" fmla="*/ 688118 w 2289927"/>
              <a:gd name="connsiteY94" fmla="*/ 1539903 h 2664334"/>
              <a:gd name="connsiteX95" fmla="*/ 757346 w 2289927"/>
              <a:gd name="connsiteY95" fmla="*/ 1539903 h 2664334"/>
              <a:gd name="connsiteX96" fmla="*/ 757346 w 2289927"/>
              <a:gd name="connsiteY96" fmla="*/ 1318503 h 2664334"/>
              <a:gd name="connsiteX97" fmla="*/ 757346 w 2289927"/>
              <a:gd name="connsiteY97" fmla="*/ 1279321 h 2664334"/>
              <a:gd name="connsiteX98" fmla="*/ 689271 w 2289927"/>
              <a:gd name="connsiteY98" fmla="*/ 1280761 h 2664334"/>
              <a:gd name="connsiteX99" fmla="*/ 621195 w 2289927"/>
              <a:gd name="connsiteY99" fmla="*/ 1282201 h 2664334"/>
              <a:gd name="connsiteX100" fmla="*/ 619862 w 2289927"/>
              <a:gd name="connsiteY100" fmla="*/ 1319947 h 2664334"/>
              <a:gd name="connsiteX101" fmla="*/ 618495 w 2289927"/>
              <a:gd name="connsiteY101" fmla="*/ 1357689 h 2664334"/>
              <a:gd name="connsiteX102" fmla="*/ 687939 w 2289927"/>
              <a:gd name="connsiteY102" fmla="*/ 1357689 h 2664334"/>
              <a:gd name="connsiteX103" fmla="*/ 757346 w 2289927"/>
              <a:gd name="connsiteY103" fmla="*/ 1357689 h 2664334"/>
              <a:gd name="connsiteX104" fmla="*/ 772575 w 2289927"/>
              <a:gd name="connsiteY104" fmla="*/ 1161158 h 2664334"/>
              <a:gd name="connsiteX105" fmla="*/ 845547 w 2289927"/>
              <a:gd name="connsiteY105" fmla="*/ 1068354 h 2664334"/>
              <a:gd name="connsiteX106" fmla="*/ 957903 w 2289927"/>
              <a:gd name="connsiteY106" fmla="*/ 929087 h 2664334"/>
              <a:gd name="connsiteX107" fmla="*/ 902895 w 2289927"/>
              <a:gd name="connsiteY107" fmla="*/ 537270 h 2664334"/>
              <a:gd name="connsiteX108" fmla="*/ 693230 w 2289927"/>
              <a:gd name="connsiteY108" fmla="*/ 435221 h 2664334"/>
              <a:gd name="connsiteX109" fmla="*/ 554810 w 2289927"/>
              <a:gd name="connsiteY109" fmla="*/ 470915 h 2664334"/>
              <a:gd name="connsiteX110" fmla="*/ 478670 w 2289927"/>
              <a:gd name="connsiteY110" fmla="*/ 531766 h 2664334"/>
              <a:gd name="connsiteX111" fmla="*/ 389355 w 2289927"/>
              <a:gd name="connsiteY111" fmla="*/ 757086 h 2664334"/>
              <a:gd name="connsiteX112" fmla="*/ 523814 w 2289927"/>
              <a:gd name="connsiteY112" fmla="*/ 1060552 h 2664334"/>
              <a:gd name="connsiteX113" fmla="*/ 605211 w 2289927"/>
              <a:gd name="connsiteY113" fmla="*/ 1157673 h 2664334"/>
              <a:gd name="connsiteX114" fmla="*/ 613958 w 2289927"/>
              <a:gd name="connsiteY114" fmla="*/ 1180681 h 2664334"/>
              <a:gd name="connsiteX115" fmla="*/ 689775 w 2289927"/>
              <a:gd name="connsiteY115" fmla="*/ 1180681 h 2664334"/>
              <a:gd name="connsiteX116" fmla="*/ 765591 w 2289927"/>
              <a:gd name="connsiteY116" fmla="*/ 1180681 h 2664334"/>
              <a:gd name="connsiteX117" fmla="*/ 821607 w 2289927"/>
              <a:gd name="connsiteY117" fmla="*/ 899953 h 2664334"/>
              <a:gd name="connsiteX118" fmla="*/ 816711 w 2289927"/>
              <a:gd name="connsiteY118" fmla="*/ 828161 h 2664334"/>
              <a:gd name="connsiteX119" fmla="*/ 826431 w 2289927"/>
              <a:gd name="connsiteY119" fmla="*/ 734759 h 2664334"/>
              <a:gd name="connsiteX120" fmla="*/ 803535 w 2289927"/>
              <a:gd name="connsiteY120" fmla="*/ 687718 h 2664334"/>
              <a:gd name="connsiteX121" fmla="*/ 769335 w 2289927"/>
              <a:gd name="connsiteY121" fmla="*/ 652262 h 2664334"/>
              <a:gd name="connsiteX122" fmla="*/ 752739 w 2289927"/>
              <a:gd name="connsiteY122" fmla="*/ 614199 h 2664334"/>
              <a:gd name="connsiteX123" fmla="*/ 798099 w 2289927"/>
              <a:gd name="connsiteY123" fmla="*/ 566520 h 2664334"/>
              <a:gd name="connsiteX124" fmla="*/ 910347 w 2289927"/>
              <a:gd name="connsiteY124" fmla="*/ 686102 h 2664334"/>
              <a:gd name="connsiteX125" fmla="*/ 884319 w 2289927"/>
              <a:gd name="connsiteY125" fmla="*/ 897911 h 2664334"/>
              <a:gd name="connsiteX126" fmla="*/ 821607 w 2289927"/>
              <a:gd name="connsiteY126" fmla="*/ 899953 h 2664334"/>
              <a:gd name="connsiteX127" fmla="*/ 336471 w 2289927"/>
              <a:gd name="connsiteY127" fmla="*/ 1440738 h 2664334"/>
              <a:gd name="connsiteX128" fmla="*/ 324698 w 2289927"/>
              <a:gd name="connsiteY128" fmla="*/ 1402995 h 2664334"/>
              <a:gd name="connsiteX129" fmla="*/ 392631 w 2289927"/>
              <a:gd name="connsiteY129" fmla="*/ 1260140 h 2664334"/>
              <a:gd name="connsiteX130" fmla="*/ 467871 w 2289927"/>
              <a:gd name="connsiteY130" fmla="*/ 1295820 h 2664334"/>
              <a:gd name="connsiteX131" fmla="*/ 393675 w 2289927"/>
              <a:gd name="connsiteY131" fmla="*/ 1446491 h 2664334"/>
              <a:gd name="connsiteX132" fmla="*/ 336471 w 2289927"/>
              <a:gd name="connsiteY132" fmla="*/ 1440738 h 2664334"/>
              <a:gd name="connsiteX133" fmla="*/ 101679 w 2289927"/>
              <a:gd name="connsiteY133" fmla="*/ 1175878 h 2664334"/>
              <a:gd name="connsiteX134" fmla="*/ 98546 w 2289927"/>
              <a:gd name="connsiteY134" fmla="*/ 1106215 h 2664334"/>
              <a:gd name="connsiteX135" fmla="*/ 237110 w 2289927"/>
              <a:gd name="connsiteY135" fmla="*/ 1016478 h 2664334"/>
              <a:gd name="connsiteX136" fmla="*/ 285855 w 2289927"/>
              <a:gd name="connsiteY136" fmla="*/ 1088618 h 2664334"/>
              <a:gd name="connsiteX137" fmla="*/ 205179 w 2289927"/>
              <a:gd name="connsiteY137" fmla="*/ 1151931 h 2664334"/>
              <a:gd name="connsiteX138" fmla="*/ 101679 w 2289927"/>
              <a:gd name="connsiteY138" fmla="*/ 1175878 h 2664334"/>
              <a:gd name="connsiteX139" fmla="*/ 13982 w 2289927"/>
              <a:gd name="connsiteY139" fmla="*/ 811450 h 2664334"/>
              <a:gd name="connsiteX140" fmla="*/ 13982 w 2289927"/>
              <a:gd name="connsiteY140" fmla="*/ 742971 h 2664334"/>
              <a:gd name="connsiteX141" fmla="*/ 27482 w 2289927"/>
              <a:gd name="connsiteY141" fmla="*/ 727750 h 2664334"/>
              <a:gd name="connsiteX142" fmla="*/ 112802 w 2289927"/>
              <a:gd name="connsiteY142" fmla="*/ 727750 h 2664334"/>
              <a:gd name="connsiteX143" fmla="*/ 198122 w 2289927"/>
              <a:gd name="connsiteY143" fmla="*/ 727750 h 2664334"/>
              <a:gd name="connsiteX144" fmla="*/ 210074 w 2289927"/>
              <a:gd name="connsiteY144" fmla="*/ 743770 h 2664334"/>
              <a:gd name="connsiteX145" fmla="*/ 208526 w 2289927"/>
              <a:gd name="connsiteY145" fmla="*/ 811450 h 2664334"/>
              <a:gd name="connsiteX146" fmla="*/ 195026 w 2289927"/>
              <a:gd name="connsiteY146" fmla="*/ 826667 h 2664334"/>
              <a:gd name="connsiteX147" fmla="*/ 111254 w 2289927"/>
              <a:gd name="connsiteY147" fmla="*/ 826667 h 2664334"/>
              <a:gd name="connsiteX148" fmla="*/ 27482 w 2289927"/>
              <a:gd name="connsiteY148" fmla="*/ 826667 h 2664334"/>
              <a:gd name="connsiteX149" fmla="*/ 173679 w 2289927"/>
              <a:gd name="connsiteY149" fmla="*/ 501285 h 2664334"/>
              <a:gd name="connsiteX150" fmla="*/ 88179 w 2289927"/>
              <a:gd name="connsiteY150" fmla="*/ 415454 h 2664334"/>
              <a:gd name="connsiteX151" fmla="*/ 101679 w 2289927"/>
              <a:gd name="connsiteY151" fmla="*/ 378543 h 2664334"/>
              <a:gd name="connsiteX152" fmla="*/ 205647 w 2289927"/>
              <a:gd name="connsiteY152" fmla="*/ 402335 h 2664334"/>
              <a:gd name="connsiteX153" fmla="*/ 285855 w 2289927"/>
              <a:gd name="connsiteY153" fmla="*/ 465803 h 2664334"/>
              <a:gd name="connsiteX154" fmla="*/ 244166 w 2289927"/>
              <a:gd name="connsiteY154" fmla="*/ 540176 h 2664334"/>
              <a:gd name="connsiteX155" fmla="*/ 173679 w 2289927"/>
              <a:gd name="connsiteY155" fmla="*/ 501285 h 2664334"/>
              <a:gd name="connsiteX156" fmla="*/ 1114358 w 2289927"/>
              <a:gd name="connsiteY156" fmla="*/ 535413 h 2664334"/>
              <a:gd name="connsiteX157" fmla="*/ 1100031 w 2289927"/>
              <a:gd name="connsiteY157" fmla="*/ 455241 h 2664334"/>
              <a:gd name="connsiteX158" fmla="*/ 1238020 w 2289927"/>
              <a:gd name="connsiteY158" fmla="*/ 364985 h 2664334"/>
              <a:gd name="connsiteX159" fmla="*/ 1283523 w 2289927"/>
              <a:gd name="connsiteY159" fmla="*/ 442778 h 2664334"/>
              <a:gd name="connsiteX160" fmla="*/ 1138083 w 2289927"/>
              <a:gd name="connsiteY160" fmla="*/ 538070 h 2664334"/>
              <a:gd name="connsiteX161" fmla="*/ 1114358 w 2289927"/>
              <a:gd name="connsiteY161" fmla="*/ 535413 h 2664334"/>
              <a:gd name="connsiteX162" fmla="*/ 407967 w 2289927"/>
              <a:gd name="connsiteY162" fmla="*/ 319049 h 2664334"/>
              <a:gd name="connsiteX163" fmla="*/ 324663 w 2289927"/>
              <a:gd name="connsiteY163" fmla="*/ 151426 h 2664334"/>
              <a:gd name="connsiteX164" fmla="*/ 336471 w 2289927"/>
              <a:gd name="connsiteY164" fmla="*/ 113680 h 2664334"/>
              <a:gd name="connsiteX165" fmla="*/ 394179 w 2289927"/>
              <a:gd name="connsiteY165" fmla="*/ 108355 h 2664334"/>
              <a:gd name="connsiteX166" fmla="*/ 476079 w 2289927"/>
              <a:gd name="connsiteY166" fmla="*/ 262997 h 2664334"/>
              <a:gd name="connsiteX167" fmla="*/ 407967 w 2289927"/>
              <a:gd name="connsiteY167" fmla="*/ 319049 h 2664334"/>
              <a:gd name="connsiteX168" fmla="*/ 913911 w 2289927"/>
              <a:gd name="connsiteY168" fmla="*/ 311665 h 2664334"/>
              <a:gd name="connsiteX169" fmla="*/ 938319 w 2289927"/>
              <a:gd name="connsiteY169" fmla="*/ 187285 h 2664334"/>
              <a:gd name="connsiteX170" fmla="*/ 1011182 w 2289927"/>
              <a:gd name="connsiteY170" fmla="*/ 97814 h 2664334"/>
              <a:gd name="connsiteX171" fmla="*/ 1055211 w 2289927"/>
              <a:gd name="connsiteY171" fmla="*/ 158626 h 2664334"/>
              <a:gd name="connsiteX172" fmla="*/ 972627 w 2289927"/>
              <a:gd name="connsiteY172" fmla="*/ 317656 h 2664334"/>
              <a:gd name="connsiteX173" fmla="*/ 913911 w 2289927"/>
              <a:gd name="connsiteY173" fmla="*/ 311665 h 2664334"/>
              <a:gd name="connsiteX174" fmla="*/ 658995 w 2289927"/>
              <a:gd name="connsiteY174" fmla="*/ 235317 h 2664334"/>
              <a:gd name="connsiteX175" fmla="*/ 642759 w 2289927"/>
              <a:gd name="connsiteY175" fmla="*/ 107095 h 2664334"/>
              <a:gd name="connsiteX176" fmla="*/ 653810 w 2289927"/>
              <a:gd name="connsiteY176" fmla="*/ 21710 h 2664334"/>
              <a:gd name="connsiteX177" fmla="*/ 723147 w 2289927"/>
              <a:gd name="connsiteY177" fmla="*/ 18089 h 2664334"/>
              <a:gd name="connsiteX178" fmla="*/ 734271 w 2289927"/>
              <a:gd name="connsiteY178" fmla="*/ 125005 h 2664334"/>
              <a:gd name="connsiteX179" fmla="*/ 734271 w 2289927"/>
              <a:gd name="connsiteY179" fmla="*/ 218353 h 2664334"/>
              <a:gd name="connsiteX180" fmla="*/ 720771 w 2289927"/>
              <a:gd name="connsiteY180" fmla="*/ 233571 h 2664334"/>
              <a:gd name="connsiteX181" fmla="*/ 658995 w 2289927"/>
              <a:gd name="connsiteY181" fmla="*/ 235317 h 266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289927" h="2664334">
                <a:moveTo>
                  <a:pt x="832047" y="2651422"/>
                </a:moveTo>
                <a:cubicBezTo>
                  <a:pt x="806019" y="2626705"/>
                  <a:pt x="806415" y="2624156"/>
                  <a:pt x="865022" y="2450970"/>
                </a:cubicBezTo>
                <a:cubicBezTo>
                  <a:pt x="893355" y="2367242"/>
                  <a:pt x="911499" y="2299864"/>
                  <a:pt x="915855" y="2262046"/>
                </a:cubicBezTo>
                <a:lnTo>
                  <a:pt x="918735" y="2237112"/>
                </a:lnTo>
                <a:lnTo>
                  <a:pt x="866355" y="2174796"/>
                </a:lnTo>
                <a:cubicBezTo>
                  <a:pt x="801735" y="2097961"/>
                  <a:pt x="761955" y="2035811"/>
                  <a:pt x="723255" y="1951186"/>
                </a:cubicBezTo>
                <a:cubicBezTo>
                  <a:pt x="682538" y="1862190"/>
                  <a:pt x="656511" y="1772392"/>
                  <a:pt x="640022" y="1664122"/>
                </a:cubicBezTo>
                <a:cubicBezTo>
                  <a:pt x="637287" y="1646179"/>
                  <a:pt x="635990" y="1644973"/>
                  <a:pt x="615435" y="1641499"/>
                </a:cubicBezTo>
                <a:cubicBezTo>
                  <a:pt x="576842" y="1634969"/>
                  <a:pt x="554810" y="1618027"/>
                  <a:pt x="537531" y="1581552"/>
                </a:cubicBezTo>
                <a:cubicBezTo>
                  <a:pt x="529718" y="1565067"/>
                  <a:pt x="528675" y="1546204"/>
                  <a:pt x="526586" y="1383473"/>
                </a:cubicBezTo>
                <a:cubicBezTo>
                  <a:pt x="523958" y="1176231"/>
                  <a:pt x="526910" y="1190170"/>
                  <a:pt x="476762" y="1150747"/>
                </a:cubicBezTo>
                <a:cubicBezTo>
                  <a:pt x="433346" y="1116626"/>
                  <a:pt x="375531" y="1049349"/>
                  <a:pt x="352382" y="1005944"/>
                </a:cubicBezTo>
                <a:cubicBezTo>
                  <a:pt x="328802" y="961758"/>
                  <a:pt x="308282" y="900017"/>
                  <a:pt x="300362" y="849275"/>
                </a:cubicBezTo>
                <a:cubicBezTo>
                  <a:pt x="292478" y="798814"/>
                  <a:pt x="296871" y="705308"/>
                  <a:pt x="309471" y="655754"/>
                </a:cubicBezTo>
                <a:cubicBezTo>
                  <a:pt x="351627" y="489873"/>
                  <a:pt x="472442" y="366133"/>
                  <a:pt x="620654" y="337017"/>
                </a:cubicBezTo>
                <a:cubicBezTo>
                  <a:pt x="660867" y="329122"/>
                  <a:pt x="755367" y="333341"/>
                  <a:pt x="791979" y="344670"/>
                </a:cubicBezTo>
                <a:cubicBezTo>
                  <a:pt x="873879" y="370025"/>
                  <a:pt x="953331" y="431574"/>
                  <a:pt x="1006251" y="510638"/>
                </a:cubicBezTo>
                <a:cubicBezTo>
                  <a:pt x="1031235" y="547934"/>
                  <a:pt x="1059746" y="613976"/>
                  <a:pt x="1069107" y="656168"/>
                </a:cubicBezTo>
                <a:cubicBezTo>
                  <a:pt x="1073390" y="675496"/>
                  <a:pt x="1078431" y="691307"/>
                  <a:pt x="1080339" y="691307"/>
                </a:cubicBezTo>
                <a:cubicBezTo>
                  <a:pt x="1082211" y="691307"/>
                  <a:pt x="1097547" y="684251"/>
                  <a:pt x="1114395" y="675622"/>
                </a:cubicBezTo>
                <a:cubicBezTo>
                  <a:pt x="1233087" y="614922"/>
                  <a:pt x="1352680" y="588459"/>
                  <a:pt x="1484223" y="593798"/>
                </a:cubicBezTo>
                <a:cubicBezTo>
                  <a:pt x="1692087" y="602236"/>
                  <a:pt x="1912623" y="717634"/>
                  <a:pt x="2061267" y="895730"/>
                </a:cubicBezTo>
                <a:cubicBezTo>
                  <a:pt x="2162715" y="1017324"/>
                  <a:pt x="2215708" y="1152597"/>
                  <a:pt x="2215708" y="1290096"/>
                </a:cubicBezTo>
                <a:cubicBezTo>
                  <a:pt x="2215708" y="1345478"/>
                  <a:pt x="2211244" y="1377734"/>
                  <a:pt x="2196340" y="1429905"/>
                </a:cubicBezTo>
                <a:cubicBezTo>
                  <a:pt x="2184496" y="1471395"/>
                  <a:pt x="2184747" y="1472353"/>
                  <a:pt x="2238891" y="1607583"/>
                </a:cubicBezTo>
                <a:cubicBezTo>
                  <a:pt x="2295160" y="1748142"/>
                  <a:pt x="2299660" y="1771499"/>
                  <a:pt x="2277699" y="1808046"/>
                </a:cubicBezTo>
                <a:cubicBezTo>
                  <a:pt x="2263696" y="1831324"/>
                  <a:pt x="2256927" y="1838138"/>
                  <a:pt x="2210667" y="1875553"/>
                </a:cubicBezTo>
                <a:cubicBezTo>
                  <a:pt x="2191372" y="1891141"/>
                  <a:pt x="2173012" y="1907428"/>
                  <a:pt x="2169843" y="1911748"/>
                </a:cubicBezTo>
                <a:cubicBezTo>
                  <a:pt x="2165560" y="1917580"/>
                  <a:pt x="2164443" y="1944108"/>
                  <a:pt x="2165560" y="2014787"/>
                </a:cubicBezTo>
                <a:cubicBezTo>
                  <a:pt x="2168980" y="2233617"/>
                  <a:pt x="2164048" y="2272990"/>
                  <a:pt x="2125888" y="2329398"/>
                </a:cubicBezTo>
                <a:cubicBezTo>
                  <a:pt x="2100507" y="2366954"/>
                  <a:pt x="2075596" y="2390365"/>
                  <a:pt x="2043304" y="2407040"/>
                </a:cubicBezTo>
                <a:cubicBezTo>
                  <a:pt x="1999995" y="2429410"/>
                  <a:pt x="1975372" y="2431743"/>
                  <a:pt x="1832667" y="2426998"/>
                </a:cubicBezTo>
                <a:cubicBezTo>
                  <a:pt x="1760308" y="2424593"/>
                  <a:pt x="1686616" y="2422559"/>
                  <a:pt x="1668867" y="2422480"/>
                </a:cubicBezTo>
                <a:lnTo>
                  <a:pt x="1636611" y="2422336"/>
                </a:lnTo>
                <a:lnTo>
                  <a:pt x="1629087" y="2440559"/>
                </a:lnTo>
                <a:cubicBezTo>
                  <a:pt x="1624947" y="2450578"/>
                  <a:pt x="1615911" y="2485721"/>
                  <a:pt x="1609036" y="2518651"/>
                </a:cubicBezTo>
                <a:cubicBezTo>
                  <a:pt x="1595139" y="2585114"/>
                  <a:pt x="1583440" y="2619109"/>
                  <a:pt x="1568212" y="2637519"/>
                </a:cubicBezTo>
                <a:cubicBezTo>
                  <a:pt x="1545100" y="2665433"/>
                  <a:pt x="1559391" y="2664422"/>
                  <a:pt x="1189456" y="2664422"/>
                </a:cubicBezTo>
                <a:lnTo>
                  <a:pt x="845727" y="2664422"/>
                </a:lnTo>
                <a:close/>
                <a:moveTo>
                  <a:pt x="1509171" y="2540776"/>
                </a:moveTo>
                <a:cubicBezTo>
                  <a:pt x="1511655" y="2530037"/>
                  <a:pt x="1519107" y="2496925"/>
                  <a:pt x="1525731" y="2467185"/>
                </a:cubicBezTo>
                <a:cubicBezTo>
                  <a:pt x="1540347" y="2401550"/>
                  <a:pt x="1553739" y="2370413"/>
                  <a:pt x="1578148" y="2345562"/>
                </a:cubicBezTo>
                <a:cubicBezTo>
                  <a:pt x="1606911" y="2316233"/>
                  <a:pt x="1615623" y="2315099"/>
                  <a:pt x="1763260" y="2321453"/>
                </a:cubicBezTo>
                <a:cubicBezTo>
                  <a:pt x="1923064" y="2328329"/>
                  <a:pt x="1980808" y="2326457"/>
                  <a:pt x="2004244" y="2313648"/>
                </a:cubicBezTo>
                <a:cubicBezTo>
                  <a:pt x="2028292" y="2300483"/>
                  <a:pt x="2053815" y="2270866"/>
                  <a:pt x="2065012" y="2243092"/>
                </a:cubicBezTo>
                <a:cubicBezTo>
                  <a:pt x="2074048" y="2220599"/>
                  <a:pt x="2074587" y="2210037"/>
                  <a:pt x="2074767" y="2049743"/>
                </a:cubicBezTo>
                <a:lnTo>
                  <a:pt x="2074948" y="1880186"/>
                </a:lnTo>
                <a:lnTo>
                  <a:pt x="2086468" y="1860973"/>
                </a:lnTo>
                <a:cubicBezTo>
                  <a:pt x="2092840" y="1850404"/>
                  <a:pt x="2120308" y="1823015"/>
                  <a:pt x="2147560" y="1800108"/>
                </a:cubicBezTo>
                <a:lnTo>
                  <a:pt x="2197060" y="1758456"/>
                </a:lnTo>
                <a:lnTo>
                  <a:pt x="2188420" y="1733778"/>
                </a:lnTo>
                <a:cubicBezTo>
                  <a:pt x="2183667" y="1720206"/>
                  <a:pt x="2166352" y="1676304"/>
                  <a:pt x="2149936" y="1636218"/>
                </a:cubicBezTo>
                <a:cubicBezTo>
                  <a:pt x="2114512" y="1549847"/>
                  <a:pt x="2095719" y="1490447"/>
                  <a:pt x="2095719" y="1465041"/>
                </a:cubicBezTo>
                <a:cubicBezTo>
                  <a:pt x="2095719" y="1454893"/>
                  <a:pt x="2101048" y="1428343"/>
                  <a:pt x="2107564" y="1406045"/>
                </a:cubicBezTo>
                <a:cubicBezTo>
                  <a:pt x="2123440" y="1351764"/>
                  <a:pt x="2127724" y="1261890"/>
                  <a:pt x="2116924" y="1210208"/>
                </a:cubicBezTo>
                <a:cubicBezTo>
                  <a:pt x="2081607" y="1040907"/>
                  <a:pt x="1949199" y="880351"/>
                  <a:pt x="1762144" y="779900"/>
                </a:cubicBezTo>
                <a:cubicBezTo>
                  <a:pt x="1660372" y="725273"/>
                  <a:pt x="1582287" y="702532"/>
                  <a:pt x="1481127" y="698097"/>
                </a:cubicBezTo>
                <a:cubicBezTo>
                  <a:pt x="1347711" y="692243"/>
                  <a:pt x="1222611" y="724953"/>
                  <a:pt x="1106115" y="796129"/>
                </a:cubicBezTo>
                <a:cubicBezTo>
                  <a:pt x="1083075" y="810201"/>
                  <a:pt x="1080411" y="813581"/>
                  <a:pt x="1080411" y="828680"/>
                </a:cubicBezTo>
                <a:cubicBezTo>
                  <a:pt x="1080411" y="853034"/>
                  <a:pt x="1063635" y="921621"/>
                  <a:pt x="1048407" y="959482"/>
                </a:cubicBezTo>
                <a:cubicBezTo>
                  <a:pt x="1019139" y="1032350"/>
                  <a:pt x="969134" y="1097989"/>
                  <a:pt x="904659" y="1148281"/>
                </a:cubicBezTo>
                <a:cubicBezTo>
                  <a:pt x="849579" y="1191247"/>
                  <a:pt x="852351" y="1178920"/>
                  <a:pt x="849650" y="1391529"/>
                </a:cubicBezTo>
                <a:lnTo>
                  <a:pt x="847347" y="1573744"/>
                </a:lnTo>
                <a:lnTo>
                  <a:pt x="836043" y="1592568"/>
                </a:lnTo>
                <a:cubicBezTo>
                  <a:pt x="816278" y="1625555"/>
                  <a:pt x="784059" y="1643580"/>
                  <a:pt x="744351" y="1643900"/>
                </a:cubicBezTo>
                <a:cubicBezTo>
                  <a:pt x="731967" y="1644001"/>
                  <a:pt x="729483" y="1645765"/>
                  <a:pt x="731426" y="1653134"/>
                </a:cubicBezTo>
                <a:cubicBezTo>
                  <a:pt x="732723" y="1658145"/>
                  <a:pt x="736143" y="1677294"/>
                  <a:pt x="739022" y="1695683"/>
                </a:cubicBezTo>
                <a:cubicBezTo>
                  <a:pt x="747266" y="1748862"/>
                  <a:pt x="773798" y="1834463"/>
                  <a:pt x="801267" y="1896520"/>
                </a:cubicBezTo>
                <a:cubicBezTo>
                  <a:pt x="835323" y="1973481"/>
                  <a:pt x="877983" y="2039364"/>
                  <a:pt x="942927" y="2115349"/>
                </a:cubicBezTo>
                <a:cubicBezTo>
                  <a:pt x="972663" y="2150115"/>
                  <a:pt x="999159" y="2184952"/>
                  <a:pt x="1001787" y="2192764"/>
                </a:cubicBezTo>
                <a:cubicBezTo>
                  <a:pt x="1004415" y="2200572"/>
                  <a:pt x="1006575" y="2225250"/>
                  <a:pt x="1006575" y="2247607"/>
                </a:cubicBezTo>
                <a:cubicBezTo>
                  <a:pt x="1006575" y="2308400"/>
                  <a:pt x="991239" y="2369121"/>
                  <a:pt x="929319" y="2553790"/>
                </a:cubicBezTo>
                <a:cubicBezTo>
                  <a:pt x="927591" y="2558956"/>
                  <a:pt x="986775" y="2560299"/>
                  <a:pt x="1215879" y="2560299"/>
                </a:cubicBezTo>
                <a:lnTo>
                  <a:pt x="1504635" y="2560299"/>
                </a:lnTo>
                <a:close/>
                <a:moveTo>
                  <a:pt x="1861324" y="1099954"/>
                </a:moveTo>
                <a:cubicBezTo>
                  <a:pt x="1843863" y="1091394"/>
                  <a:pt x="1830867" y="1062889"/>
                  <a:pt x="1835331" y="1042873"/>
                </a:cubicBezTo>
                <a:cubicBezTo>
                  <a:pt x="1840299" y="1020546"/>
                  <a:pt x="1859415" y="1003676"/>
                  <a:pt x="1879792" y="1003676"/>
                </a:cubicBezTo>
                <a:cubicBezTo>
                  <a:pt x="1929399" y="1003676"/>
                  <a:pt x="1942827" y="1083891"/>
                  <a:pt x="1896279" y="1102201"/>
                </a:cubicBezTo>
                <a:cubicBezTo>
                  <a:pt x="1878927" y="1109019"/>
                  <a:pt x="1879972" y="1109088"/>
                  <a:pt x="1861324" y="1099954"/>
                </a:cubicBezTo>
                <a:close/>
                <a:moveTo>
                  <a:pt x="1751632" y="1005778"/>
                </a:moveTo>
                <a:cubicBezTo>
                  <a:pt x="1609611" y="908823"/>
                  <a:pt x="1459887" y="878266"/>
                  <a:pt x="1323123" y="918341"/>
                </a:cubicBezTo>
                <a:cubicBezTo>
                  <a:pt x="1279383" y="931157"/>
                  <a:pt x="1265307" y="929509"/>
                  <a:pt x="1249647" y="909748"/>
                </a:cubicBezTo>
                <a:cubicBezTo>
                  <a:pt x="1238127" y="895219"/>
                  <a:pt x="1236615" y="889898"/>
                  <a:pt x="1238811" y="871491"/>
                </a:cubicBezTo>
                <a:cubicBezTo>
                  <a:pt x="1242375" y="841431"/>
                  <a:pt x="1256559" y="829760"/>
                  <a:pt x="1305123" y="816944"/>
                </a:cubicBezTo>
                <a:cubicBezTo>
                  <a:pt x="1449555" y="778816"/>
                  <a:pt x="1593015" y="798814"/>
                  <a:pt x="1732155" y="876470"/>
                </a:cubicBezTo>
                <a:cubicBezTo>
                  <a:pt x="1787667" y="907448"/>
                  <a:pt x="1819564" y="930610"/>
                  <a:pt x="1830148" y="947656"/>
                </a:cubicBezTo>
                <a:cubicBezTo>
                  <a:pt x="1841811" y="966455"/>
                  <a:pt x="1839183" y="991900"/>
                  <a:pt x="1823776" y="1009281"/>
                </a:cubicBezTo>
                <a:cubicBezTo>
                  <a:pt x="1805091" y="1030366"/>
                  <a:pt x="1786299" y="1029455"/>
                  <a:pt x="1751632" y="1005778"/>
                </a:cubicBezTo>
                <a:close/>
                <a:moveTo>
                  <a:pt x="757346" y="1500858"/>
                </a:moveTo>
                <a:lnTo>
                  <a:pt x="757346" y="1461812"/>
                </a:lnTo>
                <a:lnTo>
                  <a:pt x="688118" y="1461812"/>
                </a:lnTo>
                <a:lnTo>
                  <a:pt x="618890" y="1461812"/>
                </a:lnTo>
                <a:lnTo>
                  <a:pt x="618890" y="1500858"/>
                </a:lnTo>
                <a:lnTo>
                  <a:pt x="618890" y="1539903"/>
                </a:lnTo>
                <a:lnTo>
                  <a:pt x="688118" y="1539903"/>
                </a:lnTo>
                <a:lnTo>
                  <a:pt x="757346" y="1539903"/>
                </a:lnTo>
                <a:close/>
                <a:moveTo>
                  <a:pt x="757346" y="1318503"/>
                </a:moveTo>
                <a:lnTo>
                  <a:pt x="757346" y="1279321"/>
                </a:lnTo>
                <a:lnTo>
                  <a:pt x="689271" y="1280761"/>
                </a:lnTo>
                <a:lnTo>
                  <a:pt x="621195" y="1282201"/>
                </a:lnTo>
                <a:lnTo>
                  <a:pt x="619862" y="1319947"/>
                </a:lnTo>
                <a:lnTo>
                  <a:pt x="618495" y="1357689"/>
                </a:lnTo>
                <a:lnTo>
                  <a:pt x="687939" y="1357689"/>
                </a:lnTo>
                <a:lnTo>
                  <a:pt x="757346" y="1357689"/>
                </a:lnTo>
                <a:close/>
                <a:moveTo>
                  <a:pt x="772575" y="1161158"/>
                </a:moveTo>
                <a:cubicBezTo>
                  <a:pt x="784887" y="1126785"/>
                  <a:pt x="806307" y="1099530"/>
                  <a:pt x="845547" y="1068354"/>
                </a:cubicBezTo>
                <a:cubicBezTo>
                  <a:pt x="902067" y="1023407"/>
                  <a:pt x="932919" y="985190"/>
                  <a:pt x="957903" y="929087"/>
                </a:cubicBezTo>
                <a:cubicBezTo>
                  <a:pt x="1018527" y="792889"/>
                  <a:pt x="997791" y="645000"/>
                  <a:pt x="902895" y="537270"/>
                </a:cubicBezTo>
                <a:cubicBezTo>
                  <a:pt x="841623" y="467722"/>
                  <a:pt x="775455" y="435513"/>
                  <a:pt x="693230" y="435221"/>
                </a:cubicBezTo>
                <a:cubicBezTo>
                  <a:pt x="637971" y="435023"/>
                  <a:pt x="605643" y="443357"/>
                  <a:pt x="554810" y="470915"/>
                </a:cubicBezTo>
                <a:cubicBezTo>
                  <a:pt x="520143" y="489722"/>
                  <a:pt x="504951" y="501857"/>
                  <a:pt x="478670" y="531766"/>
                </a:cubicBezTo>
                <a:cubicBezTo>
                  <a:pt x="419955" y="598593"/>
                  <a:pt x="393458" y="665394"/>
                  <a:pt x="389355" y="757086"/>
                </a:cubicBezTo>
                <a:cubicBezTo>
                  <a:pt x="383739" y="882403"/>
                  <a:pt x="428163" y="982641"/>
                  <a:pt x="523814" y="1060552"/>
                </a:cubicBezTo>
                <a:cubicBezTo>
                  <a:pt x="569175" y="1097485"/>
                  <a:pt x="593259" y="1126249"/>
                  <a:pt x="605211" y="1157673"/>
                </a:cubicBezTo>
                <a:lnTo>
                  <a:pt x="613958" y="1180681"/>
                </a:lnTo>
                <a:lnTo>
                  <a:pt x="689775" y="1180681"/>
                </a:lnTo>
                <a:lnTo>
                  <a:pt x="765591" y="1180681"/>
                </a:lnTo>
                <a:close/>
                <a:moveTo>
                  <a:pt x="821607" y="899953"/>
                </a:moveTo>
                <a:cubicBezTo>
                  <a:pt x="805551" y="881852"/>
                  <a:pt x="804362" y="864017"/>
                  <a:pt x="816711" y="828161"/>
                </a:cubicBezTo>
                <a:cubicBezTo>
                  <a:pt x="829743" y="790354"/>
                  <a:pt x="832262" y="766393"/>
                  <a:pt x="826431" y="734759"/>
                </a:cubicBezTo>
                <a:cubicBezTo>
                  <a:pt x="822255" y="712166"/>
                  <a:pt x="817358" y="702075"/>
                  <a:pt x="803535" y="687718"/>
                </a:cubicBezTo>
                <a:cubicBezTo>
                  <a:pt x="793887" y="677667"/>
                  <a:pt x="778479" y="661712"/>
                  <a:pt x="769335" y="652262"/>
                </a:cubicBezTo>
                <a:cubicBezTo>
                  <a:pt x="755583" y="638009"/>
                  <a:pt x="752739" y="631526"/>
                  <a:pt x="752739" y="614199"/>
                </a:cubicBezTo>
                <a:cubicBezTo>
                  <a:pt x="752739" y="587058"/>
                  <a:pt x="772503" y="566283"/>
                  <a:pt x="798099" y="566520"/>
                </a:cubicBezTo>
                <a:cubicBezTo>
                  <a:pt x="834278" y="566859"/>
                  <a:pt x="889538" y="625726"/>
                  <a:pt x="910347" y="686102"/>
                </a:cubicBezTo>
                <a:cubicBezTo>
                  <a:pt x="932019" y="748889"/>
                  <a:pt x="918447" y="859449"/>
                  <a:pt x="884319" y="897911"/>
                </a:cubicBezTo>
                <a:cubicBezTo>
                  <a:pt x="863835" y="921049"/>
                  <a:pt x="840974" y="921794"/>
                  <a:pt x="821607" y="899953"/>
                </a:cubicBezTo>
                <a:close/>
                <a:moveTo>
                  <a:pt x="336471" y="1440738"/>
                </a:moveTo>
                <a:cubicBezTo>
                  <a:pt x="324122" y="1426809"/>
                  <a:pt x="322682" y="1422198"/>
                  <a:pt x="324698" y="1402995"/>
                </a:cubicBezTo>
                <a:cubicBezTo>
                  <a:pt x="327038" y="1380798"/>
                  <a:pt x="373334" y="1283479"/>
                  <a:pt x="392631" y="1260140"/>
                </a:cubicBezTo>
                <a:cubicBezTo>
                  <a:pt x="419739" y="1227319"/>
                  <a:pt x="466826" y="1249635"/>
                  <a:pt x="467871" y="1295820"/>
                </a:cubicBezTo>
                <a:cubicBezTo>
                  <a:pt x="468339" y="1316415"/>
                  <a:pt x="412538" y="1429769"/>
                  <a:pt x="393675" y="1446491"/>
                </a:cubicBezTo>
                <a:cubicBezTo>
                  <a:pt x="376214" y="1461981"/>
                  <a:pt x="353246" y="1459670"/>
                  <a:pt x="336471" y="1440738"/>
                </a:cubicBezTo>
                <a:close/>
                <a:moveTo>
                  <a:pt x="101679" y="1175878"/>
                </a:moveTo>
                <a:cubicBezTo>
                  <a:pt x="84182" y="1156168"/>
                  <a:pt x="82743" y="1123758"/>
                  <a:pt x="98546" y="1106215"/>
                </a:cubicBezTo>
                <a:cubicBezTo>
                  <a:pt x="111939" y="1091386"/>
                  <a:pt x="220334" y="1021161"/>
                  <a:pt x="237110" y="1016478"/>
                </a:cubicBezTo>
                <a:cubicBezTo>
                  <a:pt x="272246" y="1006660"/>
                  <a:pt x="303063" y="1052233"/>
                  <a:pt x="285855" y="1088618"/>
                </a:cubicBezTo>
                <a:cubicBezTo>
                  <a:pt x="278583" y="1104008"/>
                  <a:pt x="274802" y="1106982"/>
                  <a:pt x="205179" y="1151931"/>
                </a:cubicBezTo>
                <a:cubicBezTo>
                  <a:pt x="135914" y="1196658"/>
                  <a:pt x="122775" y="1199696"/>
                  <a:pt x="101679" y="1175878"/>
                </a:cubicBezTo>
                <a:close/>
                <a:moveTo>
                  <a:pt x="13982" y="811450"/>
                </a:moveTo>
                <a:cubicBezTo>
                  <a:pt x="-4630" y="790448"/>
                  <a:pt x="-4630" y="763973"/>
                  <a:pt x="13982" y="742971"/>
                </a:cubicBezTo>
                <a:lnTo>
                  <a:pt x="27482" y="727750"/>
                </a:lnTo>
                <a:lnTo>
                  <a:pt x="112802" y="727750"/>
                </a:lnTo>
                <a:lnTo>
                  <a:pt x="198122" y="727750"/>
                </a:lnTo>
                <a:lnTo>
                  <a:pt x="210074" y="743770"/>
                </a:lnTo>
                <a:cubicBezTo>
                  <a:pt x="226778" y="766180"/>
                  <a:pt x="226202" y="791503"/>
                  <a:pt x="208526" y="811450"/>
                </a:cubicBezTo>
                <a:lnTo>
                  <a:pt x="195026" y="826667"/>
                </a:lnTo>
                <a:lnTo>
                  <a:pt x="111254" y="826667"/>
                </a:lnTo>
                <a:lnTo>
                  <a:pt x="27482" y="826667"/>
                </a:lnTo>
                <a:close/>
                <a:moveTo>
                  <a:pt x="173679" y="501285"/>
                </a:moveTo>
                <a:cubicBezTo>
                  <a:pt x="95738" y="450831"/>
                  <a:pt x="88179" y="443253"/>
                  <a:pt x="88179" y="415454"/>
                </a:cubicBezTo>
                <a:cubicBezTo>
                  <a:pt x="88179" y="398418"/>
                  <a:pt x="91058" y="390491"/>
                  <a:pt x="101679" y="378543"/>
                </a:cubicBezTo>
                <a:cubicBezTo>
                  <a:pt x="122990" y="354484"/>
                  <a:pt x="136562" y="357594"/>
                  <a:pt x="205647" y="402335"/>
                </a:cubicBezTo>
                <a:cubicBezTo>
                  <a:pt x="274083" y="446683"/>
                  <a:pt x="278474" y="450154"/>
                  <a:pt x="285855" y="465803"/>
                </a:cubicBezTo>
                <a:cubicBezTo>
                  <a:pt x="301407" y="498743"/>
                  <a:pt x="277898" y="540672"/>
                  <a:pt x="244166" y="540176"/>
                </a:cubicBezTo>
                <a:cubicBezTo>
                  <a:pt x="238334" y="540089"/>
                  <a:pt x="206618" y="522590"/>
                  <a:pt x="173679" y="501285"/>
                </a:cubicBezTo>
                <a:close/>
                <a:moveTo>
                  <a:pt x="1114358" y="535413"/>
                </a:moveTo>
                <a:cubicBezTo>
                  <a:pt x="1089123" y="523306"/>
                  <a:pt x="1081095" y="478518"/>
                  <a:pt x="1100031" y="455241"/>
                </a:cubicBezTo>
                <a:cubicBezTo>
                  <a:pt x="1113063" y="439177"/>
                  <a:pt x="1220451" y="368952"/>
                  <a:pt x="1238020" y="364985"/>
                </a:cubicBezTo>
                <a:cubicBezTo>
                  <a:pt x="1277259" y="356133"/>
                  <a:pt x="1307679" y="408120"/>
                  <a:pt x="1283523" y="442778"/>
                </a:cubicBezTo>
                <a:cubicBezTo>
                  <a:pt x="1271715" y="459697"/>
                  <a:pt x="1156299" y="535326"/>
                  <a:pt x="1138083" y="538070"/>
                </a:cubicBezTo>
                <a:cubicBezTo>
                  <a:pt x="1130487" y="539218"/>
                  <a:pt x="1119794" y="538023"/>
                  <a:pt x="1114358" y="535413"/>
                </a:cubicBezTo>
                <a:close/>
                <a:moveTo>
                  <a:pt x="407967" y="319049"/>
                </a:moveTo>
                <a:cubicBezTo>
                  <a:pt x="391730" y="306201"/>
                  <a:pt x="327254" y="176529"/>
                  <a:pt x="324663" y="151426"/>
                </a:cubicBezTo>
                <a:cubicBezTo>
                  <a:pt x="322682" y="132252"/>
                  <a:pt x="324122" y="127587"/>
                  <a:pt x="336471" y="113680"/>
                </a:cubicBezTo>
                <a:cubicBezTo>
                  <a:pt x="353426" y="94531"/>
                  <a:pt x="376214" y="92425"/>
                  <a:pt x="394179" y="108355"/>
                </a:cubicBezTo>
                <a:cubicBezTo>
                  <a:pt x="406095" y="118932"/>
                  <a:pt x="467259" y="234377"/>
                  <a:pt x="476079" y="262997"/>
                </a:cubicBezTo>
                <a:cubicBezTo>
                  <a:pt x="489218" y="305459"/>
                  <a:pt x="441015" y="345138"/>
                  <a:pt x="407967" y="319049"/>
                </a:cubicBezTo>
                <a:close/>
                <a:moveTo>
                  <a:pt x="913911" y="311665"/>
                </a:moveTo>
                <a:cubicBezTo>
                  <a:pt x="892203" y="287200"/>
                  <a:pt x="895118" y="272490"/>
                  <a:pt x="938319" y="187285"/>
                </a:cubicBezTo>
                <a:cubicBezTo>
                  <a:pt x="976407" y="112218"/>
                  <a:pt x="988143" y="97814"/>
                  <a:pt x="1011182" y="97814"/>
                </a:cubicBezTo>
                <a:cubicBezTo>
                  <a:pt x="1038435" y="97814"/>
                  <a:pt x="1061619" y="129833"/>
                  <a:pt x="1055211" y="158626"/>
                </a:cubicBezTo>
                <a:cubicBezTo>
                  <a:pt x="1050639" y="179272"/>
                  <a:pt x="984219" y="307093"/>
                  <a:pt x="972627" y="317656"/>
                </a:cubicBezTo>
                <a:cubicBezTo>
                  <a:pt x="956535" y="332275"/>
                  <a:pt x="929751" y="329539"/>
                  <a:pt x="913911" y="311665"/>
                </a:cubicBezTo>
                <a:close/>
                <a:moveTo>
                  <a:pt x="658995" y="235317"/>
                </a:moveTo>
                <a:cubicBezTo>
                  <a:pt x="643623" y="218001"/>
                  <a:pt x="640851" y="195940"/>
                  <a:pt x="642759" y="107095"/>
                </a:cubicBezTo>
                <a:cubicBezTo>
                  <a:pt x="644091" y="45096"/>
                  <a:pt x="645495" y="34235"/>
                  <a:pt x="653810" y="21710"/>
                </a:cubicBezTo>
                <a:cubicBezTo>
                  <a:pt x="671919" y="-5653"/>
                  <a:pt x="702339" y="-7241"/>
                  <a:pt x="723147" y="18089"/>
                </a:cubicBezTo>
                <a:cubicBezTo>
                  <a:pt x="734054" y="31384"/>
                  <a:pt x="734271" y="33526"/>
                  <a:pt x="734271" y="125005"/>
                </a:cubicBezTo>
                <a:lnTo>
                  <a:pt x="734271" y="218353"/>
                </a:lnTo>
                <a:lnTo>
                  <a:pt x="720771" y="233571"/>
                </a:lnTo>
                <a:cubicBezTo>
                  <a:pt x="702627" y="254040"/>
                  <a:pt x="676239" y="254782"/>
                  <a:pt x="658995" y="235317"/>
                </a:cubicBezTo>
                <a:close/>
              </a:path>
            </a:pathLst>
          </a:custGeom>
          <a:solidFill>
            <a:srgbClr val="003F62"/>
          </a:solidFill>
          <a:ln w="4902" cap="flat">
            <a:noFill/>
            <a:prstDash val="solid"/>
            <a:miter/>
          </a:ln>
        </p:spPr>
        <p:txBody>
          <a:bodyPr rtlCol="0" anchor="ctr"/>
          <a:lstStyle/>
          <a:p>
            <a:endParaRPr lang="en-IN"/>
          </a:p>
        </p:txBody>
      </p:sp>
      <p:sp>
        <p:nvSpPr>
          <p:cNvPr id="94" name="Freeform: Shape 93">
            <a:extLst>
              <a:ext uri="{FF2B5EF4-FFF2-40B4-BE49-F238E27FC236}">
                <a16:creationId xmlns:a16="http://schemas.microsoft.com/office/drawing/2014/main" id="{3FADBA15-C0AC-40FF-9226-4A4075FB6396}"/>
              </a:ext>
            </a:extLst>
          </p:cNvPr>
          <p:cNvSpPr/>
          <p:nvPr/>
        </p:nvSpPr>
        <p:spPr>
          <a:xfrm>
            <a:off x="2858220" y="1486927"/>
            <a:ext cx="365760" cy="365760"/>
          </a:xfrm>
          <a:custGeom>
            <a:avLst/>
            <a:gdLst>
              <a:gd name="connsiteX0" fmla="*/ 806803 w 2232110"/>
              <a:gd name="connsiteY0" fmla="*/ 1825662 h 1829381"/>
              <a:gd name="connsiteX1" fmla="*/ 762451 w 2232110"/>
              <a:gd name="connsiteY1" fmla="*/ 1793593 h 1829381"/>
              <a:gd name="connsiteX2" fmla="*/ 753847 w 2232110"/>
              <a:gd name="connsiteY2" fmla="*/ 1678400 h 1829381"/>
              <a:gd name="connsiteX3" fmla="*/ 780631 w 2232110"/>
              <a:gd name="connsiteY3" fmla="*/ 1518304 h 1829381"/>
              <a:gd name="connsiteX4" fmla="*/ 872107 w 2232110"/>
              <a:gd name="connsiteY4" fmla="*/ 1446153 h 1829381"/>
              <a:gd name="connsiteX5" fmla="*/ 1060855 w 2232110"/>
              <a:gd name="connsiteY5" fmla="*/ 1395195 h 1829381"/>
              <a:gd name="connsiteX6" fmla="*/ 1220767 w 2232110"/>
              <a:gd name="connsiteY6" fmla="*/ 1356128 h 1829381"/>
              <a:gd name="connsiteX7" fmla="*/ 1219579 w 2232110"/>
              <a:gd name="connsiteY7" fmla="*/ 1309832 h 1829381"/>
              <a:gd name="connsiteX8" fmla="*/ 1218356 w 2232110"/>
              <a:gd name="connsiteY8" fmla="*/ 1263532 h 1829381"/>
              <a:gd name="connsiteX9" fmla="*/ 1192184 w 2232110"/>
              <a:gd name="connsiteY9" fmla="*/ 1251134 h 1829381"/>
              <a:gd name="connsiteX10" fmla="*/ 1085911 w 2232110"/>
              <a:gd name="connsiteY10" fmla="*/ 1163798 h 1829381"/>
              <a:gd name="connsiteX11" fmla="*/ 1026008 w 2232110"/>
              <a:gd name="connsiteY11" fmla="*/ 972864 h 1829381"/>
              <a:gd name="connsiteX12" fmla="*/ 1005271 w 2232110"/>
              <a:gd name="connsiteY12" fmla="*/ 861329 h 1829381"/>
              <a:gd name="connsiteX13" fmla="*/ 984931 w 2232110"/>
              <a:gd name="connsiteY13" fmla="*/ 850972 h 1829381"/>
              <a:gd name="connsiteX14" fmla="*/ 948104 w 2232110"/>
              <a:gd name="connsiteY14" fmla="*/ 751050 h 1829381"/>
              <a:gd name="connsiteX15" fmla="*/ 995983 w 2232110"/>
              <a:gd name="connsiteY15" fmla="*/ 703815 h 1829381"/>
              <a:gd name="connsiteX16" fmla="*/ 1037132 w 2232110"/>
              <a:gd name="connsiteY16" fmla="*/ 669863 h 1829381"/>
              <a:gd name="connsiteX17" fmla="*/ 1065716 w 2232110"/>
              <a:gd name="connsiteY17" fmla="*/ 600473 h 1829381"/>
              <a:gd name="connsiteX18" fmla="*/ 1109563 w 2232110"/>
              <a:gd name="connsiteY18" fmla="*/ 510516 h 1829381"/>
              <a:gd name="connsiteX19" fmla="*/ 1250107 w 2232110"/>
              <a:gd name="connsiteY19" fmla="*/ 428454 h 1829381"/>
              <a:gd name="connsiteX20" fmla="*/ 1289707 w 2232110"/>
              <a:gd name="connsiteY20" fmla="*/ 410249 h 1829381"/>
              <a:gd name="connsiteX21" fmla="*/ 1445876 w 2232110"/>
              <a:gd name="connsiteY21" fmla="*/ 385765 h 1829381"/>
              <a:gd name="connsiteX22" fmla="*/ 1602872 w 2232110"/>
              <a:gd name="connsiteY22" fmla="*/ 412074 h 1829381"/>
              <a:gd name="connsiteX23" fmla="*/ 1640240 w 2232110"/>
              <a:gd name="connsiteY23" fmla="*/ 428490 h 1829381"/>
              <a:gd name="connsiteX24" fmla="*/ 1748312 w 2232110"/>
              <a:gd name="connsiteY24" fmla="*/ 478444 h 1829381"/>
              <a:gd name="connsiteX25" fmla="*/ 1827368 w 2232110"/>
              <a:gd name="connsiteY25" fmla="*/ 606892 h 1829381"/>
              <a:gd name="connsiteX26" fmla="*/ 1852712 w 2232110"/>
              <a:gd name="connsiteY26" fmla="*/ 668992 h 1829381"/>
              <a:gd name="connsiteX27" fmla="*/ 1896092 w 2232110"/>
              <a:gd name="connsiteY27" fmla="*/ 705503 h 1829381"/>
              <a:gd name="connsiteX28" fmla="*/ 1948832 w 2232110"/>
              <a:gd name="connsiteY28" fmla="*/ 786006 h 1829381"/>
              <a:gd name="connsiteX29" fmla="*/ 1895624 w 2232110"/>
              <a:gd name="connsiteY29" fmla="*/ 856113 h 1829381"/>
              <a:gd name="connsiteX30" fmla="*/ 1883528 w 2232110"/>
              <a:gd name="connsiteY30" fmla="*/ 864349 h 1829381"/>
              <a:gd name="connsiteX31" fmla="*/ 1837520 w 2232110"/>
              <a:gd name="connsiteY31" fmla="*/ 1098674 h 1829381"/>
              <a:gd name="connsiteX32" fmla="*/ 1689416 w 2232110"/>
              <a:gd name="connsiteY32" fmla="*/ 1255288 h 1829381"/>
              <a:gd name="connsiteX33" fmla="*/ 1671992 w 2232110"/>
              <a:gd name="connsiteY33" fmla="*/ 1263205 h 1829381"/>
              <a:gd name="connsiteX34" fmla="*/ 1670767 w 2232110"/>
              <a:gd name="connsiteY34" fmla="*/ 1309623 h 1829381"/>
              <a:gd name="connsiteX35" fmla="*/ 1669544 w 2232110"/>
              <a:gd name="connsiteY35" fmla="*/ 1356041 h 1829381"/>
              <a:gd name="connsiteX36" fmla="*/ 1827799 w 2232110"/>
              <a:gd name="connsiteY36" fmla="*/ 1394767 h 1829381"/>
              <a:gd name="connsiteX37" fmla="*/ 2013272 w 2232110"/>
              <a:gd name="connsiteY37" fmla="*/ 1444051 h 1829381"/>
              <a:gd name="connsiteX38" fmla="*/ 2129589 w 2232110"/>
              <a:gd name="connsiteY38" fmla="*/ 1557652 h 1829381"/>
              <a:gd name="connsiteX39" fmla="*/ 2136500 w 2232110"/>
              <a:gd name="connsiteY39" fmla="*/ 1679347 h 1829381"/>
              <a:gd name="connsiteX40" fmla="*/ 2136500 w 2232110"/>
              <a:gd name="connsiteY40" fmla="*/ 1781630 h 1829381"/>
              <a:gd name="connsiteX41" fmla="*/ 2123900 w 2232110"/>
              <a:gd name="connsiteY41" fmla="*/ 1797895 h 1829381"/>
              <a:gd name="connsiteX42" fmla="*/ 2092004 w 2232110"/>
              <a:gd name="connsiteY42" fmla="*/ 1821824 h 1829381"/>
              <a:gd name="connsiteX43" fmla="*/ 1930364 w 2232110"/>
              <a:gd name="connsiteY43" fmla="*/ 1829488 h 1829381"/>
              <a:gd name="connsiteX44" fmla="*/ 1788056 w 2232110"/>
              <a:gd name="connsiteY44" fmla="*/ 1829488 h 1829381"/>
              <a:gd name="connsiteX45" fmla="*/ 1775815 w 2232110"/>
              <a:gd name="connsiteY45" fmla="*/ 1820870 h 1829381"/>
              <a:gd name="connsiteX46" fmla="*/ 1763576 w 2232110"/>
              <a:gd name="connsiteY46" fmla="*/ 1812255 h 1829381"/>
              <a:gd name="connsiteX47" fmla="*/ 1762171 w 2232110"/>
              <a:gd name="connsiteY47" fmla="*/ 1750609 h 1829381"/>
              <a:gd name="connsiteX48" fmla="*/ 1763395 w 2232110"/>
              <a:gd name="connsiteY48" fmla="*/ 1680517 h 1829381"/>
              <a:gd name="connsiteX49" fmla="*/ 1821680 w 2232110"/>
              <a:gd name="connsiteY49" fmla="*/ 1666225 h 1829381"/>
              <a:gd name="connsiteX50" fmla="*/ 1831184 w 2232110"/>
              <a:gd name="connsiteY50" fmla="*/ 1723404 h 1829381"/>
              <a:gd name="connsiteX51" fmla="*/ 1831184 w 2232110"/>
              <a:gd name="connsiteY51" fmla="*/ 1772310 h 1829381"/>
              <a:gd name="connsiteX52" fmla="*/ 1943504 w 2232110"/>
              <a:gd name="connsiteY52" fmla="*/ 1772256 h 1829381"/>
              <a:gd name="connsiteX53" fmla="*/ 2061512 w 2232110"/>
              <a:gd name="connsiteY53" fmla="*/ 1769232 h 1829381"/>
              <a:gd name="connsiteX54" fmla="*/ 2065904 w 2232110"/>
              <a:gd name="connsiteY54" fmla="*/ 1670120 h 1829381"/>
              <a:gd name="connsiteX55" fmla="*/ 2053160 w 2232110"/>
              <a:gd name="connsiteY55" fmla="*/ 1554322 h 1829381"/>
              <a:gd name="connsiteX56" fmla="*/ 1991384 w 2232110"/>
              <a:gd name="connsiteY56" fmla="*/ 1499303 h 1829381"/>
              <a:gd name="connsiteX57" fmla="*/ 1797560 w 2232110"/>
              <a:gd name="connsiteY57" fmla="*/ 1447370 h 1829381"/>
              <a:gd name="connsiteX58" fmla="*/ 1622168 w 2232110"/>
              <a:gd name="connsiteY58" fmla="*/ 1404235 h 1829381"/>
              <a:gd name="connsiteX59" fmla="*/ 1445299 w 2232110"/>
              <a:gd name="connsiteY59" fmla="*/ 1404235 h 1829381"/>
              <a:gd name="connsiteX60" fmla="*/ 1268431 w 2232110"/>
              <a:gd name="connsiteY60" fmla="*/ 1404235 h 1829381"/>
              <a:gd name="connsiteX61" fmla="*/ 1099447 w 2232110"/>
              <a:gd name="connsiteY61" fmla="*/ 1445534 h 1829381"/>
              <a:gd name="connsiteX62" fmla="*/ 908684 w 2232110"/>
              <a:gd name="connsiteY62" fmla="*/ 1495016 h 1829381"/>
              <a:gd name="connsiteX63" fmla="*/ 837943 w 2232110"/>
              <a:gd name="connsiteY63" fmla="*/ 1551522 h 1829381"/>
              <a:gd name="connsiteX64" fmla="*/ 825812 w 2232110"/>
              <a:gd name="connsiteY64" fmla="*/ 1570403 h 1829381"/>
              <a:gd name="connsiteX65" fmla="*/ 825812 w 2232110"/>
              <a:gd name="connsiteY65" fmla="*/ 1670466 h 1829381"/>
              <a:gd name="connsiteX66" fmla="*/ 825812 w 2232110"/>
              <a:gd name="connsiteY66" fmla="*/ 1770524 h 1829381"/>
              <a:gd name="connsiteX67" fmla="*/ 941408 w 2232110"/>
              <a:gd name="connsiteY67" fmla="*/ 1770524 h 1829381"/>
              <a:gd name="connsiteX68" fmla="*/ 1056967 w 2232110"/>
              <a:gd name="connsiteY68" fmla="*/ 1770524 h 1829381"/>
              <a:gd name="connsiteX69" fmla="*/ 1058191 w 2232110"/>
              <a:gd name="connsiteY69" fmla="*/ 1722396 h 1829381"/>
              <a:gd name="connsiteX70" fmla="*/ 1068776 w 2232110"/>
              <a:gd name="connsiteY70" fmla="*/ 1666110 h 1829381"/>
              <a:gd name="connsiteX71" fmla="*/ 1111328 w 2232110"/>
              <a:gd name="connsiteY71" fmla="*/ 1661455 h 1829381"/>
              <a:gd name="connsiteX72" fmla="*/ 1128967 w 2232110"/>
              <a:gd name="connsiteY72" fmla="*/ 1729959 h 1829381"/>
              <a:gd name="connsiteX73" fmla="*/ 1128967 w 2232110"/>
              <a:gd name="connsiteY73" fmla="*/ 1772310 h 1829381"/>
              <a:gd name="connsiteX74" fmla="*/ 1409696 w 2232110"/>
              <a:gd name="connsiteY74" fmla="*/ 1772310 h 1829381"/>
              <a:gd name="connsiteX75" fmla="*/ 1701908 w 2232110"/>
              <a:gd name="connsiteY75" fmla="*/ 1779718 h 1829381"/>
              <a:gd name="connsiteX76" fmla="*/ 1702700 w 2232110"/>
              <a:gd name="connsiteY76" fmla="*/ 1820715 h 1829381"/>
              <a:gd name="connsiteX77" fmla="*/ 1692008 w 2232110"/>
              <a:gd name="connsiteY77" fmla="*/ 1829488 h 1829381"/>
              <a:gd name="connsiteX78" fmla="*/ 1254536 w 2232110"/>
              <a:gd name="connsiteY78" fmla="*/ 1829262 h 1829381"/>
              <a:gd name="connsiteX79" fmla="*/ 806803 w 2232110"/>
              <a:gd name="connsiteY79" fmla="*/ 1825665 h 1829381"/>
              <a:gd name="connsiteX80" fmla="*/ 1600027 w 2232110"/>
              <a:gd name="connsiteY80" fmla="*/ 1316553 h 1829381"/>
              <a:gd name="connsiteX81" fmla="*/ 1600027 w 2232110"/>
              <a:gd name="connsiteY81" fmla="*/ 1286047 h 1829381"/>
              <a:gd name="connsiteX82" fmla="*/ 1561652 w 2232110"/>
              <a:gd name="connsiteY82" fmla="*/ 1288419 h 1829381"/>
              <a:gd name="connsiteX83" fmla="*/ 1510748 w 2232110"/>
              <a:gd name="connsiteY83" fmla="*/ 1281968 h 1829381"/>
              <a:gd name="connsiteX84" fmla="*/ 1498256 w 2232110"/>
              <a:gd name="connsiteY84" fmla="*/ 1261289 h 1829381"/>
              <a:gd name="connsiteX85" fmla="*/ 1550780 w 2232110"/>
              <a:gd name="connsiteY85" fmla="*/ 1231262 h 1829381"/>
              <a:gd name="connsiteX86" fmla="*/ 1704968 w 2232110"/>
              <a:gd name="connsiteY86" fmla="*/ 1172067 h 1829381"/>
              <a:gd name="connsiteX87" fmla="*/ 1770416 w 2232110"/>
              <a:gd name="connsiteY87" fmla="*/ 1081365 h 1829381"/>
              <a:gd name="connsiteX88" fmla="*/ 1810628 w 2232110"/>
              <a:gd name="connsiteY88" fmla="*/ 867305 h 1829381"/>
              <a:gd name="connsiteX89" fmla="*/ 1079611 w 2232110"/>
              <a:gd name="connsiteY89" fmla="*/ 867305 h 1829381"/>
              <a:gd name="connsiteX90" fmla="*/ 1125079 w 2232110"/>
              <a:gd name="connsiteY90" fmla="*/ 1094501 h 1829381"/>
              <a:gd name="connsiteX91" fmla="*/ 1289707 w 2232110"/>
              <a:gd name="connsiteY91" fmla="*/ 1224191 h 1829381"/>
              <a:gd name="connsiteX92" fmla="*/ 1359584 w 2232110"/>
              <a:gd name="connsiteY92" fmla="*/ 1231604 h 1829381"/>
              <a:gd name="connsiteX93" fmla="*/ 1420280 w 2232110"/>
              <a:gd name="connsiteY93" fmla="*/ 1241623 h 1829381"/>
              <a:gd name="connsiteX94" fmla="*/ 1418767 w 2232110"/>
              <a:gd name="connsiteY94" fmla="*/ 1282011 h 1829381"/>
              <a:gd name="connsiteX95" fmla="*/ 1348244 w 2232110"/>
              <a:gd name="connsiteY95" fmla="*/ 1288894 h 1829381"/>
              <a:gd name="connsiteX96" fmla="*/ 1290319 w 2232110"/>
              <a:gd name="connsiteY96" fmla="*/ 1286903 h 1829381"/>
              <a:gd name="connsiteX97" fmla="*/ 1290319 w 2232110"/>
              <a:gd name="connsiteY97" fmla="*/ 1316978 h 1829381"/>
              <a:gd name="connsiteX98" fmla="*/ 1290319 w 2232110"/>
              <a:gd name="connsiteY98" fmla="*/ 1347056 h 1829381"/>
              <a:gd name="connsiteX99" fmla="*/ 1445155 w 2232110"/>
              <a:gd name="connsiteY99" fmla="*/ 1347056 h 1829381"/>
              <a:gd name="connsiteX100" fmla="*/ 1600027 w 2232110"/>
              <a:gd name="connsiteY100" fmla="*/ 1347056 h 1829381"/>
              <a:gd name="connsiteX101" fmla="*/ 1870424 w 2232110"/>
              <a:gd name="connsiteY101" fmla="*/ 800298 h 1829381"/>
              <a:gd name="connsiteX102" fmla="*/ 1834460 w 2232110"/>
              <a:gd name="connsiteY102" fmla="*/ 736290 h 1829381"/>
              <a:gd name="connsiteX103" fmla="*/ 1789748 w 2232110"/>
              <a:gd name="connsiteY103" fmla="*/ 698454 h 1829381"/>
              <a:gd name="connsiteX104" fmla="*/ 1764116 w 2232110"/>
              <a:gd name="connsiteY104" fmla="*/ 634129 h 1829381"/>
              <a:gd name="connsiteX105" fmla="*/ 1727360 w 2232110"/>
              <a:gd name="connsiteY105" fmla="*/ 550944 h 1829381"/>
              <a:gd name="connsiteX106" fmla="*/ 1655540 w 2232110"/>
              <a:gd name="connsiteY106" fmla="*/ 492847 h 1829381"/>
              <a:gd name="connsiteX107" fmla="*/ 1621772 w 2232110"/>
              <a:gd name="connsiteY107" fmla="*/ 547470 h 1829381"/>
              <a:gd name="connsiteX108" fmla="*/ 1598479 w 2232110"/>
              <a:gd name="connsiteY108" fmla="*/ 631771 h 1829381"/>
              <a:gd name="connsiteX109" fmla="*/ 1556216 w 2232110"/>
              <a:gd name="connsiteY109" fmla="*/ 621367 h 1829381"/>
              <a:gd name="connsiteX110" fmla="*/ 1552040 w 2232110"/>
              <a:gd name="connsiteY110" fmla="*/ 533232 h 1829381"/>
              <a:gd name="connsiteX111" fmla="*/ 1546783 w 2232110"/>
              <a:gd name="connsiteY111" fmla="*/ 447232 h 1829381"/>
              <a:gd name="connsiteX112" fmla="*/ 1442600 w 2232110"/>
              <a:gd name="connsiteY112" fmla="*/ 442944 h 1829381"/>
              <a:gd name="connsiteX113" fmla="*/ 1340972 w 2232110"/>
              <a:gd name="connsiteY113" fmla="*/ 448596 h 1829381"/>
              <a:gd name="connsiteX114" fmla="*/ 1338164 w 2232110"/>
              <a:gd name="connsiteY114" fmla="*/ 535255 h 1829381"/>
              <a:gd name="connsiteX115" fmla="*/ 1332728 w 2232110"/>
              <a:gd name="connsiteY115" fmla="*/ 621933 h 1829381"/>
              <a:gd name="connsiteX116" fmla="*/ 1277180 w 2232110"/>
              <a:gd name="connsiteY116" fmla="*/ 622526 h 1829381"/>
              <a:gd name="connsiteX117" fmla="*/ 1268504 w 2232110"/>
              <a:gd name="connsiteY117" fmla="*/ 549670 h 1829381"/>
              <a:gd name="connsiteX118" fmla="*/ 1234988 w 2232110"/>
              <a:gd name="connsiteY118" fmla="*/ 492782 h 1829381"/>
              <a:gd name="connsiteX119" fmla="*/ 1166228 w 2232110"/>
              <a:gd name="connsiteY119" fmla="*/ 544583 h 1829381"/>
              <a:gd name="connsiteX120" fmla="*/ 1128716 w 2232110"/>
              <a:gd name="connsiteY120" fmla="*/ 626980 h 1829381"/>
              <a:gd name="connsiteX121" fmla="*/ 1101319 w 2232110"/>
              <a:gd name="connsiteY121" fmla="*/ 694872 h 1829381"/>
              <a:gd name="connsiteX122" fmla="*/ 1056248 w 2232110"/>
              <a:gd name="connsiteY122" fmla="*/ 733183 h 1829381"/>
              <a:gd name="connsiteX123" fmla="*/ 1019887 w 2232110"/>
              <a:gd name="connsiteY123" fmla="*/ 800298 h 1829381"/>
              <a:gd name="connsiteX124" fmla="*/ 1445155 w 2232110"/>
              <a:gd name="connsiteY124" fmla="*/ 807448 h 1829381"/>
              <a:gd name="connsiteX125" fmla="*/ 1870424 w 2232110"/>
              <a:gd name="connsiteY125" fmla="*/ 800298 h 1829381"/>
              <a:gd name="connsiteX126" fmla="*/ 87955 w 2232110"/>
              <a:gd name="connsiteY126" fmla="*/ 1476235 h 1829381"/>
              <a:gd name="connsiteX127" fmla="*/ 3571 w 2232110"/>
              <a:gd name="connsiteY127" fmla="*/ 1399310 h 1829381"/>
              <a:gd name="connsiteX128" fmla="*/ 115 w 2232110"/>
              <a:gd name="connsiteY128" fmla="*/ 730617 h 1829381"/>
              <a:gd name="connsiteX129" fmla="*/ 1446 w 2232110"/>
              <a:gd name="connsiteY129" fmla="*/ 80226 h 1829381"/>
              <a:gd name="connsiteX130" fmla="*/ 10627 w 2232110"/>
              <a:gd name="connsiteY130" fmla="*/ 63965 h 1829381"/>
              <a:gd name="connsiteX131" fmla="*/ 72619 w 2232110"/>
              <a:gd name="connsiteY131" fmla="*/ 11577 h 1829381"/>
              <a:gd name="connsiteX132" fmla="*/ 97423 w 2232110"/>
              <a:gd name="connsiteY132" fmla="*/ 1609 h 1829381"/>
              <a:gd name="connsiteX133" fmla="*/ 210067 w 2232110"/>
              <a:gd name="connsiteY133" fmla="*/ 493 h 1829381"/>
              <a:gd name="connsiteX134" fmla="*/ 333475 w 2232110"/>
              <a:gd name="connsiteY134" fmla="*/ 5148 h 1829381"/>
              <a:gd name="connsiteX135" fmla="*/ 333727 w 2232110"/>
              <a:gd name="connsiteY135" fmla="*/ 52898 h 1829381"/>
              <a:gd name="connsiteX136" fmla="*/ 216583 w 2232110"/>
              <a:gd name="connsiteY136" fmla="*/ 57845 h 1829381"/>
              <a:gd name="connsiteX137" fmla="*/ 96631 w 2232110"/>
              <a:gd name="connsiteY137" fmla="*/ 66186 h 1829381"/>
              <a:gd name="connsiteX138" fmla="*/ 76686 w 2232110"/>
              <a:gd name="connsiteY138" fmla="*/ 85842 h 1829381"/>
              <a:gd name="connsiteX139" fmla="*/ 69055 w 2232110"/>
              <a:gd name="connsiteY139" fmla="*/ 568912 h 1829381"/>
              <a:gd name="connsiteX140" fmla="*/ 69055 w 2232110"/>
              <a:gd name="connsiteY140" fmla="*/ 1039727 h 1829381"/>
              <a:gd name="connsiteX141" fmla="*/ 500659 w 2232110"/>
              <a:gd name="connsiteY141" fmla="*/ 1039727 h 1829381"/>
              <a:gd name="connsiteX142" fmla="*/ 943063 w 2232110"/>
              <a:gd name="connsiteY142" fmla="*/ 1043766 h 1829381"/>
              <a:gd name="connsiteX143" fmla="*/ 958759 w 2232110"/>
              <a:gd name="connsiteY143" fmla="*/ 1079176 h 1829381"/>
              <a:gd name="connsiteX144" fmla="*/ 945440 w 2232110"/>
              <a:gd name="connsiteY144" fmla="*/ 1093468 h 1829381"/>
              <a:gd name="connsiteX145" fmla="*/ 503179 w 2232110"/>
              <a:gd name="connsiteY145" fmla="*/ 1096906 h 1829381"/>
              <a:gd name="connsiteX146" fmla="*/ 68766 w 2232110"/>
              <a:gd name="connsiteY146" fmla="*/ 1096906 h 1829381"/>
              <a:gd name="connsiteX147" fmla="*/ 70026 w 2232110"/>
              <a:gd name="connsiteY147" fmla="*/ 1244953 h 1829381"/>
              <a:gd name="connsiteX148" fmla="*/ 80287 w 2232110"/>
              <a:gd name="connsiteY148" fmla="*/ 1403083 h 1829381"/>
              <a:gd name="connsiteX149" fmla="*/ 435426 w 2232110"/>
              <a:gd name="connsiteY149" fmla="*/ 1425781 h 1829381"/>
              <a:gd name="connsiteX150" fmla="*/ 758599 w 2232110"/>
              <a:gd name="connsiteY150" fmla="*/ 1430255 h 1829381"/>
              <a:gd name="connsiteX151" fmla="*/ 759319 w 2232110"/>
              <a:gd name="connsiteY151" fmla="*/ 1475759 h 1829381"/>
              <a:gd name="connsiteX152" fmla="*/ 429415 w 2232110"/>
              <a:gd name="connsiteY152" fmla="*/ 1482733 h 1829381"/>
              <a:gd name="connsiteX153" fmla="*/ 87955 w 2232110"/>
              <a:gd name="connsiteY153" fmla="*/ 1476235 h 1829381"/>
              <a:gd name="connsiteX154" fmla="*/ 2127896 w 2232110"/>
              <a:gd name="connsiteY154" fmla="*/ 1465075 h 1829381"/>
              <a:gd name="connsiteX155" fmla="*/ 2137653 w 2232110"/>
              <a:gd name="connsiteY155" fmla="*/ 1415402 h 1829381"/>
              <a:gd name="connsiteX156" fmla="*/ 2162672 w 2232110"/>
              <a:gd name="connsiteY156" fmla="*/ 1239963 h 1829381"/>
              <a:gd name="connsiteX157" fmla="*/ 2162672 w 2232110"/>
              <a:gd name="connsiteY157" fmla="*/ 1096906 h 1829381"/>
              <a:gd name="connsiteX158" fmla="*/ 2055608 w 2232110"/>
              <a:gd name="connsiteY158" fmla="*/ 1096906 h 1829381"/>
              <a:gd name="connsiteX159" fmla="*/ 1948544 w 2232110"/>
              <a:gd name="connsiteY159" fmla="*/ 1096906 h 1829381"/>
              <a:gd name="connsiteX160" fmla="*/ 1937852 w 2232110"/>
              <a:gd name="connsiteY160" fmla="*/ 1088133 h 1829381"/>
              <a:gd name="connsiteX161" fmla="*/ 1931984 w 2232110"/>
              <a:gd name="connsiteY161" fmla="*/ 1056374 h 1829381"/>
              <a:gd name="connsiteX162" fmla="*/ 2060432 w 2232110"/>
              <a:gd name="connsiteY162" fmla="*/ 1039727 h 1829381"/>
              <a:gd name="connsiteX163" fmla="*/ 2162744 w 2232110"/>
              <a:gd name="connsiteY163" fmla="*/ 1039727 h 1829381"/>
              <a:gd name="connsiteX164" fmla="*/ 2161628 w 2232110"/>
              <a:gd name="connsiteY164" fmla="*/ 564707 h 1829381"/>
              <a:gd name="connsiteX165" fmla="*/ 2151440 w 2232110"/>
              <a:gd name="connsiteY165" fmla="*/ 79596 h 1829381"/>
              <a:gd name="connsiteX166" fmla="*/ 2127464 w 2232110"/>
              <a:gd name="connsiteY166" fmla="*/ 63259 h 1829381"/>
              <a:gd name="connsiteX167" fmla="*/ 1280239 w 2232110"/>
              <a:gd name="connsiteY167" fmla="*/ 57002 h 1829381"/>
              <a:gd name="connsiteX168" fmla="*/ 440107 w 2232110"/>
              <a:gd name="connsiteY168" fmla="*/ 53561 h 1829381"/>
              <a:gd name="connsiteX169" fmla="*/ 426787 w 2232110"/>
              <a:gd name="connsiteY169" fmla="*/ 39265 h 1829381"/>
              <a:gd name="connsiteX170" fmla="*/ 443455 w 2232110"/>
              <a:gd name="connsiteY170" fmla="*/ 3654 h 1829381"/>
              <a:gd name="connsiteX171" fmla="*/ 1294675 w 2232110"/>
              <a:gd name="connsiteY171" fmla="*/ 666 h 1829381"/>
              <a:gd name="connsiteX172" fmla="*/ 2134304 w 2232110"/>
              <a:gd name="connsiteY172" fmla="*/ 1609 h 1829381"/>
              <a:gd name="connsiteX173" fmla="*/ 2159108 w 2232110"/>
              <a:gd name="connsiteY173" fmla="*/ 11577 h 1829381"/>
              <a:gd name="connsiteX174" fmla="*/ 2221100 w 2232110"/>
              <a:gd name="connsiteY174" fmla="*/ 63965 h 1829381"/>
              <a:gd name="connsiteX175" fmla="*/ 2230281 w 2232110"/>
              <a:gd name="connsiteY175" fmla="*/ 80226 h 1829381"/>
              <a:gd name="connsiteX176" fmla="*/ 2231468 w 2232110"/>
              <a:gd name="connsiteY176" fmla="*/ 734188 h 1829381"/>
              <a:gd name="connsiteX177" fmla="*/ 2225672 w 2232110"/>
              <a:gd name="connsiteY177" fmla="*/ 1406020 h 1829381"/>
              <a:gd name="connsiteX178" fmla="*/ 2178368 w 2232110"/>
              <a:gd name="connsiteY178" fmla="*/ 1462022 h 1829381"/>
              <a:gd name="connsiteX179" fmla="*/ 2127896 w 2232110"/>
              <a:gd name="connsiteY179" fmla="*/ 1465075 h 1829381"/>
              <a:gd name="connsiteX180" fmla="*/ 247543 w 2232110"/>
              <a:gd name="connsiteY180" fmla="*/ 1364995 h 1829381"/>
              <a:gd name="connsiteX181" fmla="*/ 181951 w 2232110"/>
              <a:gd name="connsiteY181" fmla="*/ 1185185 h 1829381"/>
              <a:gd name="connsiteX182" fmla="*/ 435426 w 2232110"/>
              <a:gd name="connsiteY182" fmla="*/ 1155870 h 1829381"/>
              <a:gd name="connsiteX183" fmla="*/ 625184 w 2232110"/>
              <a:gd name="connsiteY183" fmla="*/ 1155870 h 1829381"/>
              <a:gd name="connsiteX184" fmla="*/ 649556 w 2232110"/>
              <a:gd name="connsiteY184" fmla="*/ 1165230 h 1829381"/>
              <a:gd name="connsiteX185" fmla="*/ 725299 w 2232110"/>
              <a:gd name="connsiteY185" fmla="*/ 1261289 h 1829381"/>
              <a:gd name="connsiteX186" fmla="*/ 649556 w 2232110"/>
              <a:gd name="connsiteY186" fmla="*/ 1357348 h 1829381"/>
              <a:gd name="connsiteX187" fmla="*/ 625184 w 2232110"/>
              <a:gd name="connsiteY187" fmla="*/ 1366708 h 1829381"/>
              <a:gd name="connsiteX188" fmla="*/ 446335 w 2232110"/>
              <a:gd name="connsiteY188" fmla="*/ 1367291 h 1829381"/>
              <a:gd name="connsiteX189" fmla="*/ 247543 w 2232110"/>
              <a:gd name="connsiteY189" fmla="*/ 1364995 h 1829381"/>
              <a:gd name="connsiteX190" fmla="*/ 632995 w 2232110"/>
              <a:gd name="connsiteY190" fmla="*/ 1299611 h 1829381"/>
              <a:gd name="connsiteX191" fmla="*/ 632599 w 2232110"/>
              <a:gd name="connsiteY191" fmla="*/ 1223226 h 1829381"/>
              <a:gd name="connsiteX192" fmla="*/ 413647 w 2232110"/>
              <a:gd name="connsiteY192" fmla="*/ 1211901 h 1829381"/>
              <a:gd name="connsiteX193" fmla="*/ 240846 w 2232110"/>
              <a:gd name="connsiteY193" fmla="*/ 1219785 h 1829381"/>
              <a:gd name="connsiteX194" fmla="*/ 212983 w 2232110"/>
              <a:gd name="connsiteY194" fmla="*/ 1261289 h 1829381"/>
              <a:gd name="connsiteX195" fmla="*/ 258775 w 2232110"/>
              <a:gd name="connsiteY195" fmla="*/ 1308089 h 1829381"/>
              <a:gd name="connsiteX196" fmla="*/ 444499 w 2232110"/>
              <a:gd name="connsiteY196" fmla="*/ 1310156 h 1829381"/>
              <a:gd name="connsiteX197" fmla="*/ 617155 w 2232110"/>
              <a:gd name="connsiteY197" fmla="*/ 1309533 h 1829381"/>
              <a:gd name="connsiteX198" fmla="*/ 906163 w 2232110"/>
              <a:gd name="connsiteY198" fmla="*/ 1364746 h 1829381"/>
              <a:gd name="connsiteX199" fmla="*/ 835855 w 2232110"/>
              <a:gd name="connsiteY199" fmla="*/ 1188623 h 1829381"/>
              <a:gd name="connsiteX200" fmla="*/ 1048004 w 2232110"/>
              <a:gd name="connsiteY200" fmla="*/ 1224821 h 1829381"/>
              <a:gd name="connsiteX201" fmla="*/ 906163 w 2232110"/>
              <a:gd name="connsiteY201" fmla="*/ 1364746 h 1829381"/>
              <a:gd name="connsiteX202" fmla="*/ 968084 w 2232110"/>
              <a:gd name="connsiteY202" fmla="*/ 1293873 h 1829381"/>
              <a:gd name="connsiteX203" fmla="*/ 985004 w 2232110"/>
              <a:gd name="connsiteY203" fmla="*/ 1261289 h 1829381"/>
              <a:gd name="connsiteX204" fmla="*/ 968084 w 2232110"/>
              <a:gd name="connsiteY204" fmla="*/ 1228706 h 1829381"/>
              <a:gd name="connsiteX205" fmla="*/ 930427 w 2232110"/>
              <a:gd name="connsiteY205" fmla="*/ 1214835 h 1829381"/>
              <a:gd name="connsiteX206" fmla="*/ 877759 w 2232110"/>
              <a:gd name="connsiteY206" fmla="*/ 1285679 h 1829381"/>
              <a:gd name="connsiteX207" fmla="*/ 929924 w 2232110"/>
              <a:gd name="connsiteY207" fmla="*/ 1307603 h 1829381"/>
              <a:gd name="connsiteX208" fmla="*/ 968084 w 2232110"/>
              <a:gd name="connsiteY208" fmla="*/ 1293873 h 1829381"/>
              <a:gd name="connsiteX209" fmla="*/ 1939868 w 2232110"/>
              <a:gd name="connsiteY209" fmla="*/ 1364696 h 1829381"/>
              <a:gd name="connsiteX210" fmla="*/ 1871288 w 2232110"/>
              <a:gd name="connsiteY210" fmla="*/ 1187345 h 1829381"/>
              <a:gd name="connsiteX211" fmla="*/ 2052764 w 2232110"/>
              <a:gd name="connsiteY211" fmla="*/ 1187345 h 1829381"/>
              <a:gd name="connsiteX212" fmla="*/ 2049776 w 2232110"/>
              <a:gd name="connsiteY212" fmla="*/ 1337393 h 1829381"/>
              <a:gd name="connsiteX213" fmla="*/ 1939868 w 2232110"/>
              <a:gd name="connsiteY213" fmla="*/ 1364696 h 1829381"/>
              <a:gd name="connsiteX214" fmla="*/ 1992392 w 2232110"/>
              <a:gd name="connsiteY214" fmla="*/ 1301901 h 1829381"/>
              <a:gd name="connsiteX215" fmla="*/ 1992392 w 2232110"/>
              <a:gd name="connsiteY215" fmla="*/ 1220678 h 1829381"/>
              <a:gd name="connsiteX216" fmla="*/ 1931660 w 2232110"/>
              <a:gd name="connsiteY216" fmla="*/ 1220678 h 1829381"/>
              <a:gd name="connsiteX217" fmla="*/ 1930940 w 2232110"/>
              <a:gd name="connsiteY217" fmla="*/ 1301728 h 1829381"/>
              <a:gd name="connsiteX218" fmla="*/ 1992392 w 2232110"/>
              <a:gd name="connsiteY218" fmla="*/ 1301901 h 1829381"/>
              <a:gd name="connsiteX219" fmla="*/ 314503 w 2232110"/>
              <a:gd name="connsiteY219" fmla="*/ 937944 h 1829381"/>
              <a:gd name="connsiteX220" fmla="*/ 291607 w 2232110"/>
              <a:gd name="connsiteY220" fmla="*/ 921111 h 1829381"/>
              <a:gd name="connsiteX221" fmla="*/ 282787 w 2232110"/>
              <a:gd name="connsiteY221" fmla="*/ 838537 h 1829381"/>
              <a:gd name="connsiteX222" fmla="*/ 310255 w 2232110"/>
              <a:gd name="connsiteY222" fmla="*/ 739404 h 1829381"/>
              <a:gd name="connsiteX223" fmla="*/ 397267 w 2232110"/>
              <a:gd name="connsiteY223" fmla="*/ 732417 h 1829381"/>
              <a:gd name="connsiteX224" fmla="*/ 470347 w 2232110"/>
              <a:gd name="connsiteY224" fmla="*/ 732402 h 1829381"/>
              <a:gd name="connsiteX225" fmla="*/ 470347 w 2232110"/>
              <a:gd name="connsiteY225" fmla="*/ 697518 h 1829381"/>
              <a:gd name="connsiteX226" fmla="*/ 470347 w 2232110"/>
              <a:gd name="connsiteY226" fmla="*/ 662634 h 1829381"/>
              <a:gd name="connsiteX227" fmla="*/ 385207 w 2232110"/>
              <a:gd name="connsiteY227" fmla="*/ 627811 h 1829381"/>
              <a:gd name="connsiteX228" fmla="*/ 282787 w 2232110"/>
              <a:gd name="connsiteY228" fmla="*/ 548784 h 1829381"/>
              <a:gd name="connsiteX229" fmla="*/ 385603 w 2232110"/>
              <a:gd name="connsiteY229" fmla="*/ 468864 h 1829381"/>
              <a:gd name="connsiteX230" fmla="*/ 470311 w 2232110"/>
              <a:gd name="connsiteY230" fmla="*/ 434009 h 1829381"/>
              <a:gd name="connsiteX231" fmla="*/ 470311 w 2232110"/>
              <a:gd name="connsiteY231" fmla="*/ 399391 h 1829381"/>
              <a:gd name="connsiteX232" fmla="*/ 470347 w 2232110"/>
              <a:gd name="connsiteY232" fmla="*/ 364777 h 1829381"/>
              <a:gd name="connsiteX233" fmla="*/ 391903 w 2232110"/>
              <a:gd name="connsiteY233" fmla="*/ 363657 h 1829381"/>
              <a:gd name="connsiteX234" fmla="*/ 313459 w 2232110"/>
              <a:gd name="connsiteY234" fmla="*/ 362538 h 1829381"/>
              <a:gd name="connsiteX235" fmla="*/ 299202 w 2232110"/>
              <a:gd name="connsiteY235" fmla="*/ 350863 h 1829381"/>
              <a:gd name="connsiteX236" fmla="*/ 284947 w 2232110"/>
              <a:gd name="connsiteY236" fmla="*/ 339188 h 1829381"/>
              <a:gd name="connsiteX237" fmla="*/ 283759 w 2232110"/>
              <a:gd name="connsiteY237" fmla="*/ 263311 h 1829381"/>
              <a:gd name="connsiteX238" fmla="*/ 505015 w 2232110"/>
              <a:gd name="connsiteY238" fmla="*/ 153486 h 1829381"/>
              <a:gd name="connsiteX239" fmla="*/ 714463 w 2232110"/>
              <a:gd name="connsiteY239" fmla="*/ 172973 h 1829381"/>
              <a:gd name="connsiteX240" fmla="*/ 726955 w 2232110"/>
              <a:gd name="connsiteY240" fmla="*/ 207263 h 1829381"/>
              <a:gd name="connsiteX241" fmla="*/ 728647 w 2232110"/>
              <a:gd name="connsiteY241" fmla="*/ 232103 h 1829381"/>
              <a:gd name="connsiteX242" fmla="*/ 1329308 w 2232110"/>
              <a:gd name="connsiteY242" fmla="*/ 232103 h 1829381"/>
              <a:gd name="connsiteX243" fmla="*/ 1929968 w 2232110"/>
              <a:gd name="connsiteY243" fmla="*/ 232103 h 1829381"/>
              <a:gd name="connsiteX244" fmla="*/ 1939472 w 2232110"/>
              <a:gd name="connsiteY244" fmla="*/ 240375 h 1829381"/>
              <a:gd name="connsiteX245" fmla="*/ 1948940 w 2232110"/>
              <a:gd name="connsiteY245" fmla="*/ 413856 h 1829381"/>
              <a:gd name="connsiteX246" fmla="*/ 1948940 w 2232110"/>
              <a:gd name="connsiteY246" fmla="*/ 579064 h 1829381"/>
              <a:gd name="connsiteX247" fmla="*/ 1938248 w 2232110"/>
              <a:gd name="connsiteY247" fmla="*/ 587837 h 1829381"/>
              <a:gd name="connsiteX248" fmla="*/ 1883744 w 2232110"/>
              <a:gd name="connsiteY248" fmla="*/ 577714 h 1829381"/>
              <a:gd name="connsiteX249" fmla="*/ 1879172 w 2232110"/>
              <a:gd name="connsiteY249" fmla="*/ 428116 h 1829381"/>
              <a:gd name="connsiteX250" fmla="*/ 1879172 w 2232110"/>
              <a:gd name="connsiteY250" fmla="*/ 289282 h 1829381"/>
              <a:gd name="connsiteX251" fmla="*/ 1303424 w 2232110"/>
              <a:gd name="connsiteY251" fmla="*/ 289282 h 1829381"/>
              <a:gd name="connsiteX252" fmla="*/ 727675 w 2232110"/>
              <a:gd name="connsiteY252" fmla="*/ 289282 h 1829381"/>
              <a:gd name="connsiteX253" fmla="*/ 727675 w 2232110"/>
              <a:gd name="connsiteY253" fmla="*/ 307264 h 1829381"/>
              <a:gd name="connsiteX254" fmla="*/ 700675 w 2232110"/>
              <a:gd name="connsiteY254" fmla="*/ 357088 h 1829381"/>
              <a:gd name="connsiteX255" fmla="*/ 613195 w 2232110"/>
              <a:gd name="connsiteY255" fmla="*/ 364313 h 1829381"/>
              <a:gd name="connsiteX256" fmla="*/ 540115 w 2232110"/>
              <a:gd name="connsiteY256" fmla="*/ 364324 h 1829381"/>
              <a:gd name="connsiteX257" fmla="*/ 540115 w 2232110"/>
              <a:gd name="connsiteY257" fmla="*/ 399247 h 1829381"/>
              <a:gd name="connsiteX258" fmla="*/ 540115 w 2232110"/>
              <a:gd name="connsiteY258" fmla="*/ 434167 h 1829381"/>
              <a:gd name="connsiteX259" fmla="*/ 619063 w 2232110"/>
              <a:gd name="connsiteY259" fmla="*/ 466250 h 1829381"/>
              <a:gd name="connsiteX260" fmla="*/ 726739 w 2232110"/>
              <a:gd name="connsiteY260" fmla="*/ 556700 h 1829381"/>
              <a:gd name="connsiteX261" fmla="*/ 624607 w 2232110"/>
              <a:gd name="connsiteY261" fmla="*/ 627952 h 1829381"/>
              <a:gd name="connsiteX262" fmla="*/ 540152 w 2232110"/>
              <a:gd name="connsiteY262" fmla="*/ 662717 h 1829381"/>
              <a:gd name="connsiteX263" fmla="*/ 540152 w 2232110"/>
              <a:gd name="connsiteY263" fmla="*/ 697561 h 1829381"/>
              <a:gd name="connsiteX264" fmla="*/ 540115 w 2232110"/>
              <a:gd name="connsiteY264" fmla="*/ 732402 h 1829381"/>
              <a:gd name="connsiteX265" fmla="*/ 613195 w 2232110"/>
              <a:gd name="connsiteY265" fmla="*/ 732417 h 1829381"/>
              <a:gd name="connsiteX266" fmla="*/ 700675 w 2232110"/>
              <a:gd name="connsiteY266" fmla="*/ 739642 h 1829381"/>
              <a:gd name="connsiteX267" fmla="*/ 727675 w 2232110"/>
              <a:gd name="connsiteY267" fmla="*/ 789466 h 1829381"/>
              <a:gd name="connsiteX268" fmla="*/ 727675 w 2232110"/>
              <a:gd name="connsiteY268" fmla="*/ 807448 h 1829381"/>
              <a:gd name="connsiteX269" fmla="*/ 779371 w 2232110"/>
              <a:gd name="connsiteY269" fmla="*/ 807448 h 1829381"/>
              <a:gd name="connsiteX270" fmla="*/ 862963 w 2232110"/>
              <a:gd name="connsiteY270" fmla="*/ 821884 h 1829381"/>
              <a:gd name="connsiteX271" fmla="*/ 857312 w 2232110"/>
              <a:gd name="connsiteY271" fmla="*/ 856746 h 1829381"/>
              <a:gd name="connsiteX272" fmla="*/ 788588 w 2232110"/>
              <a:gd name="connsiteY272" fmla="*/ 865408 h 1829381"/>
              <a:gd name="connsiteX273" fmla="*/ 729835 w 2232110"/>
              <a:gd name="connsiteY273" fmla="*/ 866412 h 1829381"/>
              <a:gd name="connsiteX274" fmla="*/ 727387 w 2232110"/>
              <a:gd name="connsiteY274" fmla="*/ 889639 h 1829381"/>
              <a:gd name="connsiteX275" fmla="*/ 695131 w 2232110"/>
              <a:gd name="connsiteY275" fmla="*/ 937573 h 1829381"/>
              <a:gd name="connsiteX276" fmla="*/ 504583 w 2232110"/>
              <a:gd name="connsiteY276" fmla="*/ 943103 h 1829381"/>
              <a:gd name="connsiteX277" fmla="*/ 314503 w 2232110"/>
              <a:gd name="connsiteY277" fmla="*/ 937944 h 1829381"/>
              <a:gd name="connsiteX278" fmla="*/ 657871 w 2232110"/>
              <a:gd name="connsiteY278" fmla="*/ 837821 h 1829381"/>
              <a:gd name="connsiteX279" fmla="*/ 657871 w 2232110"/>
              <a:gd name="connsiteY279" fmla="*/ 789577 h 1829381"/>
              <a:gd name="connsiteX280" fmla="*/ 505231 w 2232110"/>
              <a:gd name="connsiteY280" fmla="*/ 789577 h 1829381"/>
              <a:gd name="connsiteX281" fmla="*/ 352555 w 2232110"/>
              <a:gd name="connsiteY281" fmla="*/ 789577 h 1829381"/>
              <a:gd name="connsiteX282" fmla="*/ 352555 w 2232110"/>
              <a:gd name="connsiteY282" fmla="*/ 837821 h 1829381"/>
              <a:gd name="connsiteX283" fmla="*/ 352555 w 2232110"/>
              <a:gd name="connsiteY283" fmla="*/ 886065 h 1829381"/>
              <a:gd name="connsiteX284" fmla="*/ 505231 w 2232110"/>
              <a:gd name="connsiteY284" fmla="*/ 886065 h 1829381"/>
              <a:gd name="connsiteX285" fmla="*/ 657871 w 2232110"/>
              <a:gd name="connsiteY285" fmla="*/ 886065 h 1829381"/>
              <a:gd name="connsiteX286" fmla="*/ 583963 w 2232110"/>
              <a:gd name="connsiteY286" fmla="*/ 580428 h 1829381"/>
              <a:gd name="connsiteX287" fmla="*/ 656251 w 2232110"/>
              <a:gd name="connsiteY287" fmla="*/ 547373 h 1829381"/>
              <a:gd name="connsiteX288" fmla="*/ 579751 w 2232110"/>
              <a:gd name="connsiteY288" fmla="*/ 514498 h 1829381"/>
              <a:gd name="connsiteX289" fmla="*/ 505231 w 2232110"/>
              <a:gd name="connsiteY289" fmla="*/ 484207 h 1829381"/>
              <a:gd name="connsiteX290" fmla="*/ 430711 w 2232110"/>
              <a:gd name="connsiteY290" fmla="*/ 514498 h 1829381"/>
              <a:gd name="connsiteX291" fmla="*/ 354175 w 2232110"/>
              <a:gd name="connsiteY291" fmla="*/ 547373 h 1829381"/>
              <a:gd name="connsiteX292" fmla="*/ 504187 w 2232110"/>
              <a:gd name="connsiteY292" fmla="*/ 610711 h 1829381"/>
              <a:gd name="connsiteX293" fmla="*/ 583963 w 2232110"/>
              <a:gd name="connsiteY293" fmla="*/ 580428 h 1829381"/>
              <a:gd name="connsiteX294" fmla="*/ 657871 w 2232110"/>
              <a:gd name="connsiteY294" fmla="*/ 258905 h 1829381"/>
              <a:gd name="connsiteX295" fmla="*/ 657871 w 2232110"/>
              <a:gd name="connsiteY295" fmla="*/ 210661 h 1829381"/>
              <a:gd name="connsiteX296" fmla="*/ 505231 w 2232110"/>
              <a:gd name="connsiteY296" fmla="*/ 210661 h 1829381"/>
              <a:gd name="connsiteX297" fmla="*/ 352555 w 2232110"/>
              <a:gd name="connsiteY297" fmla="*/ 210661 h 1829381"/>
              <a:gd name="connsiteX298" fmla="*/ 352555 w 2232110"/>
              <a:gd name="connsiteY298" fmla="*/ 258905 h 1829381"/>
              <a:gd name="connsiteX299" fmla="*/ 352555 w 2232110"/>
              <a:gd name="connsiteY299" fmla="*/ 307148 h 1829381"/>
              <a:gd name="connsiteX300" fmla="*/ 505231 w 2232110"/>
              <a:gd name="connsiteY300" fmla="*/ 307148 h 1829381"/>
              <a:gd name="connsiteX301" fmla="*/ 657871 w 2232110"/>
              <a:gd name="connsiteY301" fmla="*/ 307148 h 182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2232110" h="1829381">
                <a:moveTo>
                  <a:pt x="806803" y="1825662"/>
                </a:moveTo>
                <a:cubicBezTo>
                  <a:pt x="787543" y="1819333"/>
                  <a:pt x="771091" y="1807453"/>
                  <a:pt x="762451" y="1793593"/>
                </a:cubicBezTo>
                <a:cubicBezTo>
                  <a:pt x="754460" y="1780759"/>
                  <a:pt x="753847" y="1772302"/>
                  <a:pt x="753847" y="1678400"/>
                </a:cubicBezTo>
                <a:cubicBezTo>
                  <a:pt x="753847" y="1567502"/>
                  <a:pt x="755575" y="1557087"/>
                  <a:pt x="780631" y="1518304"/>
                </a:cubicBezTo>
                <a:cubicBezTo>
                  <a:pt x="798056" y="1491326"/>
                  <a:pt x="836972" y="1460632"/>
                  <a:pt x="872107" y="1446153"/>
                </a:cubicBezTo>
                <a:cubicBezTo>
                  <a:pt x="888307" y="1439475"/>
                  <a:pt x="971072" y="1417130"/>
                  <a:pt x="1060855" y="1395195"/>
                </a:cubicBezTo>
                <a:lnTo>
                  <a:pt x="1220767" y="1356128"/>
                </a:lnTo>
                <a:lnTo>
                  <a:pt x="1219579" y="1309832"/>
                </a:lnTo>
                <a:lnTo>
                  <a:pt x="1218356" y="1263532"/>
                </a:lnTo>
                <a:lnTo>
                  <a:pt x="1192184" y="1251134"/>
                </a:lnTo>
                <a:cubicBezTo>
                  <a:pt x="1160072" y="1235920"/>
                  <a:pt x="1105712" y="1191233"/>
                  <a:pt x="1085911" y="1163798"/>
                </a:cubicBezTo>
                <a:cubicBezTo>
                  <a:pt x="1058983" y="1126433"/>
                  <a:pt x="1048111" y="1091801"/>
                  <a:pt x="1026008" y="972864"/>
                </a:cubicBezTo>
                <a:lnTo>
                  <a:pt x="1005271" y="861329"/>
                </a:lnTo>
                <a:lnTo>
                  <a:pt x="984931" y="850972"/>
                </a:lnTo>
                <a:cubicBezTo>
                  <a:pt x="947456" y="831881"/>
                  <a:pt x="930499" y="785880"/>
                  <a:pt x="948104" y="751050"/>
                </a:cubicBezTo>
                <a:cubicBezTo>
                  <a:pt x="951812" y="743742"/>
                  <a:pt x="973339" y="722484"/>
                  <a:pt x="995983" y="703815"/>
                </a:cubicBezTo>
                <a:lnTo>
                  <a:pt x="1037132" y="669863"/>
                </a:lnTo>
                <a:lnTo>
                  <a:pt x="1065716" y="600473"/>
                </a:lnTo>
                <a:cubicBezTo>
                  <a:pt x="1081591" y="561989"/>
                  <a:pt x="1101104" y="521924"/>
                  <a:pt x="1109563" y="510516"/>
                </a:cubicBezTo>
                <a:cubicBezTo>
                  <a:pt x="1139120" y="470657"/>
                  <a:pt x="1195531" y="437710"/>
                  <a:pt x="1250107" y="428454"/>
                </a:cubicBezTo>
                <a:cubicBezTo>
                  <a:pt x="1270556" y="424984"/>
                  <a:pt x="1277684" y="421704"/>
                  <a:pt x="1289707" y="410249"/>
                </a:cubicBezTo>
                <a:cubicBezTo>
                  <a:pt x="1314187" y="386834"/>
                  <a:pt x="1321027" y="385765"/>
                  <a:pt x="1445876" y="385765"/>
                </a:cubicBezTo>
                <a:cubicBezTo>
                  <a:pt x="1569968" y="385765"/>
                  <a:pt x="1577420" y="387014"/>
                  <a:pt x="1602872" y="412074"/>
                </a:cubicBezTo>
                <a:cubicBezTo>
                  <a:pt x="1612700" y="421762"/>
                  <a:pt x="1620440" y="425167"/>
                  <a:pt x="1640240" y="428490"/>
                </a:cubicBezTo>
                <a:cubicBezTo>
                  <a:pt x="1679876" y="435154"/>
                  <a:pt x="1716668" y="452167"/>
                  <a:pt x="1748312" y="478444"/>
                </a:cubicBezTo>
                <a:cubicBezTo>
                  <a:pt x="1782799" y="507089"/>
                  <a:pt x="1794140" y="525499"/>
                  <a:pt x="1827368" y="606892"/>
                </a:cubicBezTo>
                <a:lnTo>
                  <a:pt x="1852712" y="668992"/>
                </a:lnTo>
                <a:lnTo>
                  <a:pt x="1896092" y="705503"/>
                </a:lnTo>
                <a:cubicBezTo>
                  <a:pt x="1942208" y="744361"/>
                  <a:pt x="1948977" y="754650"/>
                  <a:pt x="1948832" y="786006"/>
                </a:cubicBezTo>
                <a:cubicBezTo>
                  <a:pt x="1948724" y="813643"/>
                  <a:pt x="1926368" y="843088"/>
                  <a:pt x="1895624" y="856113"/>
                </a:cubicBezTo>
                <a:cubicBezTo>
                  <a:pt x="1888964" y="858932"/>
                  <a:pt x="1883528" y="862636"/>
                  <a:pt x="1883528" y="864349"/>
                </a:cubicBezTo>
                <a:cubicBezTo>
                  <a:pt x="1883528" y="874761"/>
                  <a:pt x="1843028" y="1081023"/>
                  <a:pt x="1837520" y="1098674"/>
                </a:cubicBezTo>
                <a:cubicBezTo>
                  <a:pt x="1818260" y="1160356"/>
                  <a:pt x="1757852" y="1224238"/>
                  <a:pt x="1689416" y="1255288"/>
                </a:cubicBezTo>
                <a:lnTo>
                  <a:pt x="1671992" y="1263205"/>
                </a:lnTo>
                <a:lnTo>
                  <a:pt x="1670767" y="1309623"/>
                </a:lnTo>
                <a:lnTo>
                  <a:pt x="1669544" y="1356041"/>
                </a:lnTo>
                <a:lnTo>
                  <a:pt x="1827799" y="1394767"/>
                </a:lnTo>
                <a:cubicBezTo>
                  <a:pt x="1914812" y="1416064"/>
                  <a:pt x="1998296" y="1438240"/>
                  <a:pt x="2013272" y="1444051"/>
                </a:cubicBezTo>
                <a:cubicBezTo>
                  <a:pt x="2066408" y="1464657"/>
                  <a:pt x="2112452" y="1509636"/>
                  <a:pt x="2129589" y="1557652"/>
                </a:cubicBezTo>
                <a:cubicBezTo>
                  <a:pt x="2135169" y="1573374"/>
                  <a:pt x="2136500" y="1596496"/>
                  <a:pt x="2136500" y="1679347"/>
                </a:cubicBezTo>
                <a:lnTo>
                  <a:pt x="2136500" y="1781630"/>
                </a:lnTo>
                <a:lnTo>
                  <a:pt x="2123900" y="1797895"/>
                </a:lnTo>
                <a:cubicBezTo>
                  <a:pt x="2115548" y="1808709"/>
                  <a:pt x="2104856" y="1816730"/>
                  <a:pt x="2092004" y="1821824"/>
                </a:cubicBezTo>
                <a:cubicBezTo>
                  <a:pt x="2073464" y="1829179"/>
                  <a:pt x="2066948" y="1829488"/>
                  <a:pt x="1930364" y="1829488"/>
                </a:cubicBezTo>
                <a:lnTo>
                  <a:pt x="1788056" y="1829488"/>
                </a:lnTo>
                <a:lnTo>
                  <a:pt x="1775815" y="1820870"/>
                </a:lnTo>
                <a:lnTo>
                  <a:pt x="1763576" y="1812255"/>
                </a:lnTo>
                <a:lnTo>
                  <a:pt x="1762171" y="1750609"/>
                </a:lnTo>
                <a:cubicBezTo>
                  <a:pt x="1761416" y="1716704"/>
                  <a:pt x="1761956" y="1685161"/>
                  <a:pt x="1763395" y="1680517"/>
                </a:cubicBezTo>
                <a:cubicBezTo>
                  <a:pt x="1770164" y="1658413"/>
                  <a:pt x="1803392" y="1650266"/>
                  <a:pt x="1821680" y="1666225"/>
                </a:cubicBezTo>
                <a:cubicBezTo>
                  <a:pt x="1830464" y="1673886"/>
                  <a:pt x="1831184" y="1678109"/>
                  <a:pt x="1831184" y="1723404"/>
                </a:cubicBezTo>
                <a:lnTo>
                  <a:pt x="1831184" y="1772310"/>
                </a:lnTo>
                <a:lnTo>
                  <a:pt x="1943504" y="1772256"/>
                </a:lnTo>
                <a:cubicBezTo>
                  <a:pt x="2005280" y="1772227"/>
                  <a:pt x="2058380" y="1770863"/>
                  <a:pt x="2061512" y="1769232"/>
                </a:cubicBezTo>
                <a:cubicBezTo>
                  <a:pt x="2066048" y="1766870"/>
                  <a:pt x="2066948" y="1746458"/>
                  <a:pt x="2065904" y="1670120"/>
                </a:cubicBezTo>
                <a:cubicBezTo>
                  <a:pt x="2064536" y="1574986"/>
                  <a:pt x="2064428" y="1573773"/>
                  <a:pt x="2053160" y="1554322"/>
                </a:cubicBezTo>
                <a:cubicBezTo>
                  <a:pt x="2040020" y="1531675"/>
                  <a:pt x="2017844" y="1511896"/>
                  <a:pt x="1991384" y="1499303"/>
                </a:cubicBezTo>
                <a:cubicBezTo>
                  <a:pt x="1981232" y="1494465"/>
                  <a:pt x="1894004" y="1471094"/>
                  <a:pt x="1797560" y="1447370"/>
                </a:cubicBezTo>
                <a:lnTo>
                  <a:pt x="1622168" y="1404235"/>
                </a:lnTo>
                <a:lnTo>
                  <a:pt x="1445299" y="1404235"/>
                </a:lnTo>
                <a:lnTo>
                  <a:pt x="1268431" y="1404235"/>
                </a:lnTo>
                <a:lnTo>
                  <a:pt x="1099447" y="1445534"/>
                </a:lnTo>
                <a:cubicBezTo>
                  <a:pt x="1006531" y="1468250"/>
                  <a:pt x="920671" y="1490516"/>
                  <a:pt x="908684" y="1495016"/>
                </a:cubicBezTo>
                <a:cubicBezTo>
                  <a:pt x="880963" y="1505420"/>
                  <a:pt x="853495" y="1527366"/>
                  <a:pt x="837943" y="1551522"/>
                </a:cubicBezTo>
                <a:lnTo>
                  <a:pt x="825812" y="1570403"/>
                </a:lnTo>
                <a:lnTo>
                  <a:pt x="825812" y="1670466"/>
                </a:lnTo>
                <a:lnTo>
                  <a:pt x="825812" y="1770524"/>
                </a:lnTo>
                <a:lnTo>
                  <a:pt x="941408" y="1770524"/>
                </a:lnTo>
                <a:lnTo>
                  <a:pt x="1056967" y="1770524"/>
                </a:lnTo>
                <a:lnTo>
                  <a:pt x="1058191" y="1722396"/>
                </a:lnTo>
                <a:cubicBezTo>
                  <a:pt x="1059308" y="1678879"/>
                  <a:pt x="1060315" y="1673482"/>
                  <a:pt x="1068776" y="1666110"/>
                </a:cubicBezTo>
                <a:cubicBezTo>
                  <a:pt x="1078675" y="1657466"/>
                  <a:pt x="1097540" y="1655403"/>
                  <a:pt x="1111328" y="1661455"/>
                </a:cubicBezTo>
                <a:cubicBezTo>
                  <a:pt x="1124324" y="1667157"/>
                  <a:pt x="1128967" y="1685093"/>
                  <a:pt x="1128967" y="1729959"/>
                </a:cubicBezTo>
                <a:lnTo>
                  <a:pt x="1128967" y="1772310"/>
                </a:lnTo>
                <a:lnTo>
                  <a:pt x="1409696" y="1772310"/>
                </a:lnTo>
                <a:cubicBezTo>
                  <a:pt x="1687112" y="1772310"/>
                  <a:pt x="1690568" y="1772396"/>
                  <a:pt x="1701908" y="1779718"/>
                </a:cubicBezTo>
                <a:cubicBezTo>
                  <a:pt x="1717352" y="1789665"/>
                  <a:pt x="1717712" y="1808418"/>
                  <a:pt x="1702700" y="1820715"/>
                </a:cubicBezTo>
                <a:lnTo>
                  <a:pt x="1692008" y="1829488"/>
                </a:lnTo>
                <a:lnTo>
                  <a:pt x="1254536" y="1829262"/>
                </a:lnTo>
                <a:cubicBezTo>
                  <a:pt x="991339" y="1829125"/>
                  <a:pt x="812995" y="1827692"/>
                  <a:pt x="806803" y="1825665"/>
                </a:cubicBezTo>
                <a:close/>
                <a:moveTo>
                  <a:pt x="1600027" y="1316553"/>
                </a:moveTo>
                <a:lnTo>
                  <a:pt x="1600027" y="1286047"/>
                </a:lnTo>
                <a:lnTo>
                  <a:pt x="1561652" y="1288419"/>
                </a:lnTo>
                <a:cubicBezTo>
                  <a:pt x="1525075" y="1290683"/>
                  <a:pt x="1522700" y="1290381"/>
                  <a:pt x="1510748" y="1281968"/>
                </a:cubicBezTo>
                <a:cubicBezTo>
                  <a:pt x="1501639" y="1275549"/>
                  <a:pt x="1498256" y="1269908"/>
                  <a:pt x="1498256" y="1261289"/>
                </a:cubicBezTo>
                <a:cubicBezTo>
                  <a:pt x="1498256" y="1243167"/>
                  <a:pt x="1513844" y="1234242"/>
                  <a:pt x="1550780" y="1231262"/>
                </a:cubicBezTo>
                <a:cubicBezTo>
                  <a:pt x="1614895" y="1226085"/>
                  <a:pt x="1659968" y="1208773"/>
                  <a:pt x="1704968" y="1172067"/>
                </a:cubicBezTo>
                <a:cubicBezTo>
                  <a:pt x="1739060" y="1144224"/>
                  <a:pt x="1760012" y="1115194"/>
                  <a:pt x="1770416" y="1081365"/>
                </a:cubicBezTo>
                <a:cubicBezTo>
                  <a:pt x="1777400" y="1058577"/>
                  <a:pt x="1812751" y="870520"/>
                  <a:pt x="1810628" y="867305"/>
                </a:cubicBezTo>
                <a:cubicBezTo>
                  <a:pt x="1808324" y="863799"/>
                  <a:pt x="1082059" y="863799"/>
                  <a:pt x="1079611" y="867305"/>
                </a:cubicBezTo>
                <a:cubicBezTo>
                  <a:pt x="1075976" y="872424"/>
                  <a:pt x="1115575" y="1070248"/>
                  <a:pt x="1125079" y="1094501"/>
                </a:cubicBezTo>
                <a:cubicBezTo>
                  <a:pt x="1148911" y="1155406"/>
                  <a:pt x="1210292" y="1203747"/>
                  <a:pt x="1289707" y="1224191"/>
                </a:cubicBezTo>
                <a:cubicBezTo>
                  <a:pt x="1300831" y="1227057"/>
                  <a:pt x="1332296" y="1230394"/>
                  <a:pt x="1359584" y="1231604"/>
                </a:cubicBezTo>
                <a:cubicBezTo>
                  <a:pt x="1401992" y="1233486"/>
                  <a:pt x="1410776" y="1234941"/>
                  <a:pt x="1420280" y="1241623"/>
                </a:cubicBezTo>
                <a:cubicBezTo>
                  <a:pt x="1436084" y="1252761"/>
                  <a:pt x="1435436" y="1270275"/>
                  <a:pt x="1418767" y="1282011"/>
                </a:cubicBezTo>
                <a:cubicBezTo>
                  <a:pt x="1406383" y="1290745"/>
                  <a:pt x="1405267" y="1290853"/>
                  <a:pt x="1348244" y="1288894"/>
                </a:cubicBezTo>
                <a:lnTo>
                  <a:pt x="1290319" y="1286903"/>
                </a:lnTo>
                <a:lnTo>
                  <a:pt x="1290319" y="1316978"/>
                </a:lnTo>
                <a:lnTo>
                  <a:pt x="1290319" y="1347056"/>
                </a:lnTo>
                <a:lnTo>
                  <a:pt x="1445155" y="1347056"/>
                </a:lnTo>
                <a:lnTo>
                  <a:pt x="1600027" y="1347056"/>
                </a:lnTo>
                <a:close/>
                <a:moveTo>
                  <a:pt x="1870424" y="800298"/>
                </a:moveTo>
                <a:cubicBezTo>
                  <a:pt x="1887668" y="786190"/>
                  <a:pt x="1882411" y="776891"/>
                  <a:pt x="1834460" y="736290"/>
                </a:cubicBezTo>
                <a:lnTo>
                  <a:pt x="1789748" y="698454"/>
                </a:lnTo>
                <a:lnTo>
                  <a:pt x="1764116" y="634129"/>
                </a:lnTo>
                <a:cubicBezTo>
                  <a:pt x="1750004" y="598752"/>
                  <a:pt x="1733480" y="561319"/>
                  <a:pt x="1727360" y="550944"/>
                </a:cubicBezTo>
                <a:cubicBezTo>
                  <a:pt x="1714400" y="528952"/>
                  <a:pt x="1681856" y="502636"/>
                  <a:pt x="1655540" y="492847"/>
                </a:cubicBezTo>
                <a:cubicBezTo>
                  <a:pt x="1620620" y="479858"/>
                  <a:pt x="1621844" y="477896"/>
                  <a:pt x="1621772" y="547470"/>
                </a:cubicBezTo>
                <a:cubicBezTo>
                  <a:pt x="1621700" y="614661"/>
                  <a:pt x="1619216" y="623625"/>
                  <a:pt x="1598479" y="631771"/>
                </a:cubicBezTo>
                <a:cubicBezTo>
                  <a:pt x="1584187" y="637384"/>
                  <a:pt x="1563344" y="632246"/>
                  <a:pt x="1556216" y="621367"/>
                </a:cubicBezTo>
                <a:cubicBezTo>
                  <a:pt x="1553876" y="617792"/>
                  <a:pt x="1552040" y="578707"/>
                  <a:pt x="1552040" y="533232"/>
                </a:cubicBezTo>
                <a:cubicBezTo>
                  <a:pt x="1552040" y="474444"/>
                  <a:pt x="1550564" y="450317"/>
                  <a:pt x="1546783" y="447232"/>
                </a:cubicBezTo>
                <a:cubicBezTo>
                  <a:pt x="1543040" y="444146"/>
                  <a:pt x="1513735" y="442944"/>
                  <a:pt x="1442600" y="442944"/>
                </a:cubicBezTo>
                <a:cubicBezTo>
                  <a:pt x="1356344" y="442944"/>
                  <a:pt x="1343276" y="443671"/>
                  <a:pt x="1340972" y="448596"/>
                </a:cubicBezTo>
                <a:cubicBezTo>
                  <a:pt x="1339495" y="451706"/>
                  <a:pt x="1338235" y="490702"/>
                  <a:pt x="1338164" y="535255"/>
                </a:cubicBezTo>
                <a:cubicBezTo>
                  <a:pt x="1338056" y="593294"/>
                  <a:pt x="1336508" y="617868"/>
                  <a:pt x="1332728" y="621933"/>
                </a:cubicBezTo>
                <a:cubicBezTo>
                  <a:pt x="1317607" y="638050"/>
                  <a:pt x="1292335" y="638320"/>
                  <a:pt x="1277180" y="622526"/>
                </a:cubicBezTo>
                <a:cubicBezTo>
                  <a:pt x="1269296" y="614297"/>
                  <a:pt x="1268504" y="607929"/>
                  <a:pt x="1268504" y="549670"/>
                </a:cubicBezTo>
                <a:cubicBezTo>
                  <a:pt x="1268504" y="477662"/>
                  <a:pt x="1269799" y="479830"/>
                  <a:pt x="1234988" y="492782"/>
                </a:cubicBezTo>
                <a:cubicBezTo>
                  <a:pt x="1211696" y="501444"/>
                  <a:pt x="1179223" y="525902"/>
                  <a:pt x="1166228" y="544583"/>
                </a:cubicBezTo>
                <a:cubicBezTo>
                  <a:pt x="1160648" y="552561"/>
                  <a:pt x="1143799" y="589637"/>
                  <a:pt x="1128716" y="626980"/>
                </a:cubicBezTo>
                <a:lnTo>
                  <a:pt x="1101319" y="694872"/>
                </a:lnTo>
                <a:lnTo>
                  <a:pt x="1056248" y="733183"/>
                </a:lnTo>
                <a:cubicBezTo>
                  <a:pt x="1007431" y="774670"/>
                  <a:pt x="1001671" y="785351"/>
                  <a:pt x="1019887" y="800298"/>
                </a:cubicBezTo>
                <a:cubicBezTo>
                  <a:pt x="1028492" y="807347"/>
                  <a:pt x="1034431" y="807448"/>
                  <a:pt x="1445155" y="807448"/>
                </a:cubicBezTo>
                <a:cubicBezTo>
                  <a:pt x="1855879" y="807448"/>
                  <a:pt x="1861820" y="807347"/>
                  <a:pt x="1870424" y="800298"/>
                </a:cubicBezTo>
                <a:close/>
                <a:moveTo>
                  <a:pt x="87955" y="1476235"/>
                </a:moveTo>
                <a:cubicBezTo>
                  <a:pt x="44179" y="1463836"/>
                  <a:pt x="13039" y="1435465"/>
                  <a:pt x="3571" y="1399310"/>
                </a:cubicBezTo>
                <a:cubicBezTo>
                  <a:pt x="151" y="1386278"/>
                  <a:pt x="-821" y="1193577"/>
                  <a:pt x="115" y="730617"/>
                </a:cubicBezTo>
                <a:lnTo>
                  <a:pt x="1446" y="80226"/>
                </a:lnTo>
                <a:lnTo>
                  <a:pt x="10627" y="63965"/>
                </a:lnTo>
                <a:cubicBezTo>
                  <a:pt x="24055" y="40187"/>
                  <a:pt x="44539" y="22874"/>
                  <a:pt x="72619" y="11577"/>
                </a:cubicBezTo>
                <a:lnTo>
                  <a:pt x="97423" y="1609"/>
                </a:lnTo>
                <a:lnTo>
                  <a:pt x="210067" y="493"/>
                </a:lnTo>
                <a:cubicBezTo>
                  <a:pt x="307951" y="-476"/>
                  <a:pt x="324151" y="136"/>
                  <a:pt x="333475" y="5148"/>
                </a:cubicBezTo>
                <a:cubicBezTo>
                  <a:pt x="355687" y="17067"/>
                  <a:pt x="355830" y="43614"/>
                  <a:pt x="333727" y="52898"/>
                </a:cubicBezTo>
                <a:cubicBezTo>
                  <a:pt x="327679" y="55451"/>
                  <a:pt x="285199" y="57243"/>
                  <a:pt x="216583" y="57845"/>
                </a:cubicBezTo>
                <a:cubicBezTo>
                  <a:pt x="115567" y="58727"/>
                  <a:pt x="108186" y="59241"/>
                  <a:pt x="96631" y="66186"/>
                </a:cubicBezTo>
                <a:cubicBezTo>
                  <a:pt x="89862" y="70257"/>
                  <a:pt x="80899" y="79103"/>
                  <a:pt x="76686" y="85842"/>
                </a:cubicBezTo>
                <a:cubicBezTo>
                  <a:pt x="69558" y="97322"/>
                  <a:pt x="69055" y="127735"/>
                  <a:pt x="69055" y="568912"/>
                </a:cubicBezTo>
                <a:lnTo>
                  <a:pt x="69055" y="1039727"/>
                </a:lnTo>
                <a:lnTo>
                  <a:pt x="500659" y="1039727"/>
                </a:lnTo>
                <a:cubicBezTo>
                  <a:pt x="812131" y="1039727"/>
                  <a:pt x="935287" y="1040850"/>
                  <a:pt x="943063" y="1043766"/>
                </a:cubicBezTo>
                <a:cubicBezTo>
                  <a:pt x="958723" y="1049613"/>
                  <a:pt x="965743" y="1065402"/>
                  <a:pt x="958759" y="1079176"/>
                </a:cubicBezTo>
                <a:cubicBezTo>
                  <a:pt x="955735" y="1085145"/>
                  <a:pt x="949759" y="1091578"/>
                  <a:pt x="945440" y="1093468"/>
                </a:cubicBezTo>
                <a:cubicBezTo>
                  <a:pt x="940579" y="1095603"/>
                  <a:pt x="772963" y="1096906"/>
                  <a:pt x="503179" y="1096906"/>
                </a:cubicBezTo>
                <a:lnTo>
                  <a:pt x="68766" y="1096906"/>
                </a:lnTo>
                <a:lnTo>
                  <a:pt x="70026" y="1244953"/>
                </a:lnTo>
                <a:cubicBezTo>
                  <a:pt x="71215" y="1388236"/>
                  <a:pt x="71539" y="1393319"/>
                  <a:pt x="80287" y="1403083"/>
                </a:cubicBezTo>
                <a:cubicBezTo>
                  <a:pt x="101346" y="1426627"/>
                  <a:pt x="86083" y="1425651"/>
                  <a:pt x="435426" y="1425781"/>
                </a:cubicBezTo>
                <a:cubicBezTo>
                  <a:pt x="677131" y="1425871"/>
                  <a:pt x="753307" y="1426925"/>
                  <a:pt x="758599" y="1430255"/>
                </a:cubicBezTo>
                <a:cubicBezTo>
                  <a:pt x="778255" y="1442629"/>
                  <a:pt x="778579" y="1463336"/>
                  <a:pt x="759319" y="1475759"/>
                </a:cubicBezTo>
                <a:cubicBezTo>
                  <a:pt x="748556" y="1482686"/>
                  <a:pt x="740960" y="1482848"/>
                  <a:pt x="429415" y="1482733"/>
                </a:cubicBezTo>
                <a:cubicBezTo>
                  <a:pt x="134791" y="1482625"/>
                  <a:pt x="108763" y="1482132"/>
                  <a:pt x="87955" y="1476235"/>
                </a:cubicBezTo>
                <a:close/>
                <a:moveTo>
                  <a:pt x="2127896" y="1465075"/>
                </a:moveTo>
                <a:cubicBezTo>
                  <a:pt x="2109176" y="1449757"/>
                  <a:pt x="2112525" y="1432711"/>
                  <a:pt x="2137653" y="1415402"/>
                </a:cubicBezTo>
                <a:cubicBezTo>
                  <a:pt x="2162348" y="1398378"/>
                  <a:pt x="2162672" y="1396048"/>
                  <a:pt x="2162672" y="1239963"/>
                </a:cubicBezTo>
                <a:lnTo>
                  <a:pt x="2162672" y="1096906"/>
                </a:lnTo>
                <a:lnTo>
                  <a:pt x="2055608" y="1096906"/>
                </a:lnTo>
                <a:lnTo>
                  <a:pt x="1948544" y="1096906"/>
                </a:lnTo>
                <a:lnTo>
                  <a:pt x="1937852" y="1088133"/>
                </a:lnTo>
                <a:cubicBezTo>
                  <a:pt x="1926152" y="1078550"/>
                  <a:pt x="1924532" y="1069776"/>
                  <a:pt x="1931984" y="1056374"/>
                </a:cubicBezTo>
                <a:cubicBezTo>
                  <a:pt x="1940408" y="1041207"/>
                  <a:pt x="1951820" y="1039727"/>
                  <a:pt x="2060432" y="1039727"/>
                </a:cubicBezTo>
                <a:lnTo>
                  <a:pt x="2162744" y="1039727"/>
                </a:lnTo>
                <a:lnTo>
                  <a:pt x="2161628" y="564707"/>
                </a:lnTo>
                <a:cubicBezTo>
                  <a:pt x="2160477" y="90605"/>
                  <a:pt x="2160477" y="89665"/>
                  <a:pt x="2151440" y="79596"/>
                </a:cubicBezTo>
                <a:cubicBezTo>
                  <a:pt x="2146472" y="74045"/>
                  <a:pt x="2135708" y="66693"/>
                  <a:pt x="2127464" y="63259"/>
                </a:cubicBezTo>
                <a:cubicBezTo>
                  <a:pt x="2113388" y="57373"/>
                  <a:pt x="2063961" y="57009"/>
                  <a:pt x="1280239" y="57002"/>
                </a:cubicBezTo>
                <a:cubicBezTo>
                  <a:pt x="755791" y="56999"/>
                  <a:pt x="445039" y="55728"/>
                  <a:pt x="440107" y="53561"/>
                </a:cubicBezTo>
                <a:cubicBezTo>
                  <a:pt x="435787" y="51671"/>
                  <a:pt x="429811" y="45237"/>
                  <a:pt x="426787" y="39265"/>
                </a:cubicBezTo>
                <a:cubicBezTo>
                  <a:pt x="419659" y="25149"/>
                  <a:pt x="427111" y="9173"/>
                  <a:pt x="443455" y="3654"/>
                </a:cubicBezTo>
                <a:cubicBezTo>
                  <a:pt x="451807" y="831"/>
                  <a:pt x="691855" y="-11"/>
                  <a:pt x="1294675" y="666"/>
                </a:cubicBezTo>
                <a:lnTo>
                  <a:pt x="2134304" y="1609"/>
                </a:lnTo>
                <a:lnTo>
                  <a:pt x="2159108" y="11577"/>
                </a:lnTo>
                <a:cubicBezTo>
                  <a:pt x="2187188" y="22874"/>
                  <a:pt x="2207672" y="40187"/>
                  <a:pt x="2221100" y="63965"/>
                </a:cubicBezTo>
                <a:lnTo>
                  <a:pt x="2230281" y="80226"/>
                </a:lnTo>
                <a:lnTo>
                  <a:pt x="2231468" y="734188"/>
                </a:lnTo>
                <a:cubicBezTo>
                  <a:pt x="2232512" y="1324794"/>
                  <a:pt x="2231973" y="1389881"/>
                  <a:pt x="2225672" y="1406020"/>
                </a:cubicBezTo>
                <a:cubicBezTo>
                  <a:pt x="2216637" y="1429237"/>
                  <a:pt x="2199608" y="1449411"/>
                  <a:pt x="2178368" y="1462022"/>
                </a:cubicBezTo>
                <a:cubicBezTo>
                  <a:pt x="2158461" y="1473855"/>
                  <a:pt x="2139956" y="1474971"/>
                  <a:pt x="2127896" y="1465075"/>
                </a:cubicBezTo>
                <a:close/>
                <a:moveTo>
                  <a:pt x="247543" y="1364995"/>
                </a:moveTo>
                <a:cubicBezTo>
                  <a:pt x="144403" y="1350137"/>
                  <a:pt x="105595" y="1243721"/>
                  <a:pt x="181951" y="1185185"/>
                </a:cubicBezTo>
                <a:cubicBezTo>
                  <a:pt x="220327" y="1155791"/>
                  <a:pt x="219643" y="1155870"/>
                  <a:pt x="435426" y="1155870"/>
                </a:cubicBezTo>
                <a:lnTo>
                  <a:pt x="625184" y="1155870"/>
                </a:lnTo>
                <a:lnTo>
                  <a:pt x="649556" y="1165230"/>
                </a:lnTo>
                <a:cubicBezTo>
                  <a:pt x="700171" y="1184692"/>
                  <a:pt x="725299" y="1216541"/>
                  <a:pt x="725299" y="1261289"/>
                </a:cubicBezTo>
                <a:cubicBezTo>
                  <a:pt x="725299" y="1306037"/>
                  <a:pt x="700171" y="1337887"/>
                  <a:pt x="649556" y="1357348"/>
                </a:cubicBezTo>
                <a:lnTo>
                  <a:pt x="625184" y="1366708"/>
                </a:lnTo>
                <a:lnTo>
                  <a:pt x="446335" y="1367291"/>
                </a:lnTo>
                <a:cubicBezTo>
                  <a:pt x="347983" y="1367612"/>
                  <a:pt x="258523" y="1366575"/>
                  <a:pt x="247543" y="1364995"/>
                </a:cubicBezTo>
                <a:close/>
                <a:moveTo>
                  <a:pt x="632995" y="1299611"/>
                </a:moveTo>
                <a:cubicBezTo>
                  <a:pt x="664783" y="1279757"/>
                  <a:pt x="664567" y="1240820"/>
                  <a:pt x="632599" y="1223226"/>
                </a:cubicBezTo>
                <a:cubicBezTo>
                  <a:pt x="611719" y="1211742"/>
                  <a:pt x="590191" y="1210627"/>
                  <a:pt x="413647" y="1211901"/>
                </a:cubicBezTo>
                <a:cubicBezTo>
                  <a:pt x="266803" y="1212956"/>
                  <a:pt x="253375" y="1213571"/>
                  <a:pt x="240846" y="1219785"/>
                </a:cubicBezTo>
                <a:cubicBezTo>
                  <a:pt x="222631" y="1228828"/>
                  <a:pt x="212983" y="1243167"/>
                  <a:pt x="212983" y="1261289"/>
                </a:cubicBezTo>
                <a:cubicBezTo>
                  <a:pt x="212983" y="1285679"/>
                  <a:pt x="228931" y="1301951"/>
                  <a:pt x="258775" y="1308089"/>
                </a:cubicBezTo>
                <a:cubicBezTo>
                  <a:pt x="265975" y="1309569"/>
                  <a:pt x="349567" y="1310498"/>
                  <a:pt x="444499" y="1310156"/>
                </a:cubicBezTo>
                <a:lnTo>
                  <a:pt x="617155" y="1309533"/>
                </a:lnTo>
                <a:close/>
                <a:moveTo>
                  <a:pt x="906163" y="1364746"/>
                </a:moveTo>
                <a:cubicBezTo>
                  <a:pt x="806264" y="1351599"/>
                  <a:pt x="765152" y="1248628"/>
                  <a:pt x="835855" y="1188623"/>
                </a:cubicBezTo>
                <a:cubicBezTo>
                  <a:pt x="900799" y="1133478"/>
                  <a:pt x="1018376" y="1153541"/>
                  <a:pt x="1048004" y="1224821"/>
                </a:cubicBezTo>
                <a:cubicBezTo>
                  <a:pt x="1080116" y="1302016"/>
                  <a:pt x="1003543" y="1377562"/>
                  <a:pt x="906163" y="1364746"/>
                </a:cubicBezTo>
                <a:close/>
                <a:moveTo>
                  <a:pt x="968084" y="1293873"/>
                </a:moveTo>
                <a:cubicBezTo>
                  <a:pt x="983419" y="1281291"/>
                  <a:pt x="985004" y="1278256"/>
                  <a:pt x="985004" y="1261289"/>
                </a:cubicBezTo>
                <a:cubicBezTo>
                  <a:pt x="985004" y="1244323"/>
                  <a:pt x="983419" y="1241291"/>
                  <a:pt x="968084" y="1228706"/>
                </a:cubicBezTo>
                <a:cubicBezTo>
                  <a:pt x="953179" y="1216487"/>
                  <a:pt x="948679" y="1214835"/>
                  <a:pt x="930427" y="1214835"/>
                </a:cubicBezTo>
                <a:cubicBezTo>
                  <a:pt x="882620" y="1214835"/>
                  <a:pt x="855799" y="1250896"/>
                  <a:pt x="877759" y="1285679"/>
                </a:cubicBezTo>
                <a:cubicBezTo>
                  <a:pt x="887011" y="1300360"/>
                  <a:pt x="903823" y="1307427"/>
                  <a:pt x="929924" y="1307603"/>
                </a:cubicBezTo>
                <a:cubicBezTo>
                  <a:pt x="948860" y="1307730"/>
                  <a:pt x="952963" y="1306257"/>
                  <a:pt x="968084" y="1293873"/>
                </a:cubicBezTo>
                <a:close/>
                <a:moveTo>
                  <a:pt x="1939868" y="1364696"/>
                </a:moveTo>
                <a:cubicBezTo>
                  <a:pt x="1839068" y="1351678"/>
                  <a:pt x="1798964" y="1247901"/>
                  <a:pt x="1871288" y="1187345"/>
                </a:cubicBezTo>
                <a:cubicBezTo>
                  <a:pt x="1920356" y="1146295"/>
                  <a:pt x="2003696" y="1146295"/>
                  <a:pt x="2052764" y="1187345"/>
                </a:cubicBezTo>
                <a:cubicBezTo>
                  <a:pt x="2103560" y="1229879"/>
                  <a:pt x="2102228" y="1297181"/>
                  <a:pt x="2049776" y="1337393"/>
                </a:cubicBezTo>
                <a:cubicBezTo>
                  <a:pt x="2019608" y="1360505"/>
                  <a:pt x="1981232" y="1370038"/>
                  <a:pt x="1939868" y="1364696"/>
                </a:cubicBezTo>
                <a:close/>
                <a:moveTo>
                  <a:pt x="1992392" y="1301901"/>
                </a:moveTo>
                <a:cubicBezTo>
                  <a:pt x="2027708" y="1284805"/>
                  <a:pt x="2027708" y="1237778"/>
                  <a:pt x="1992392" y="1220678"/>
                </a:cubicBezTo>
                <a:cubicBezTo>
                  <a:pt x="1976912" y="1213183"/>
                  <a:pt x="1947176" y="1213183"/>
                  <a:pt x="1931660" y="1220678"/>
                </a:cubicBezTo>
                <a:cubicBezTo>
                  <a:pt x="1896704" y="1237605"/>
                  <a:pt x="1896272" y="1284103"/>
                  <a:pt x="1930940" y="1301728"/>
                </a:cubicBezTo>
                <a:cubicBezTo>
                  <a:pt x="1945772" y="1309263"/>
                  <a:pt x="1976984" y="1309353"/>
                  <a:pt x="1992392" y="1301901"/>
                </a:cubicBezTo>
                <a:close/>
                <a:moveTo>
                  <a:pt x="314503" y="937944"/>
                </a:moveTo>
                <a:cubicBezTo>
                  <a:pt x="306727" y="935183"/>
                  <a:pt x="296431" y="927609"/>
                  <a:pt x="291607" y="921111"/>
                </a:cubicBezTo>
                <a:cubicBezTo>
                  <a:pt x="283579" y="910314"/>
                  <a:pt x="282823" y="903176"/>
                  <a:pt x="282787" y="838537"/>
                </a:cubicBezTo>
                <a:cubicBezTo>
                  <a:pt x="282787" y="759942"/>
                  <a:pt x="284983" y="752037"/>
                  <a:pt x="310255" y="739404"/>
                </a:cubicBezTo>
                <a:cubicBezTo>
                  <a:pt x="322639" y="733219"/>
                  <a:pt x="332503" y="732427"/>
                  <a:pt x="397267" y="732417"/>
                </a:cubicBezTo>
                <a:lnTo>
                  <a:pt x="470347" y="732402"/>
                </a:lnTo>
                <a:lnTo>
                  <a:pt x="470347" y="697518"/>
                </a:lnTo>
                <a:lnTo>
                  <a:pt x="470347" y="662634"/>
                </a:lnTo>
                <a:lnTo>
                  <a:pt x="385207" y="627811"/>
                </a:lnTo>
                <a:cubicBezTo>
                  <a:pt x="287539" y="587869"/>
                  <a:pt x="282823" y="584226"/>
                  <a:pt x="282787" y="548784"/>
                </a:cubicBezTo>
                <a:cubicBezTo>
                  <a:pt x="282787" y="513126"/>
                  <a:pt x="288079" y="509011"/>
                  <a:pt x="385603" y="468864"/>
                </a:cubicBezTo>
                <a:lnTo>
                  <a:pt x="470311" y="434009"/>
                </a:lnTo>
                <a:lnTo>
                  <a:pt x="470311" y="399391"/>
                </a:lnTo>
                <a:lnTo>
                  <a:pt x="470347" y="364777"/>
                </a:lnTo>
                <a:lnTo>
                  <a:pt x="391903" y="363657"/>
                </a:lnTo>
                <a:lnTo>
                  <a:pt x="313459" y="362538"/>
                </a:lnTo>
                <a:lnTo>
                  <a:pt x="299202" y="350863"/>
                </a:lnTo>
                <a:lnTo>
                  <a:pt x="284947" y="339188"/>
                </a:lnTo>
                <a:lnTo>
                  <a:pt x="283759" y="263311"/>
                </a:lnTo>
                <a:cubicBezTo>
                  <a:pt x="281887" y="145994"/>
                  <a:pt x="266803" y="153486"/>
                  <a:pt x="505015" y="153486"/>
                </a:cubicBezTo>
                <a:cubicBezTo>
                  <a:pt x="694051" y="153486"/>
                  <a:pt x="691999" y="153295"/>
                  <a:pt x="714463" y="172973"/>
                </a:cubicBezTo>
                <a:cubicBezTo>
                  <a:pt x="723283" y="180705"/>
                  <a:pt x="725551" y="186930"/>
                  <a:pt x="726955" y="207263"/>
                </a:cubicBezTo>
                <a:lnTo>
                  <a:pt x="728647" y="232103"/>
                </a:lnTo>
                <a:lnTo>
                  <a:pt x="1329308" y="232103"/>
                </a:lnTo>
                <a:lnTo>
                  <a:pt x="1929968" y="232103"/>
                </a:lnTo>
                <a:lnTo>
                  <a:pt x="1939472" y="240375"/>
                </a:lnTo>
                <a:cubicBezTo>
                  <a:pt x="1948904" y="248619"/>
                  <a:pt x="1948940" y="249149"/>
                  <a:pt x="1948940" y="413856"/>
                </a:cubicBezTo>
                <a:lnTo>
                  <a:pt x="1948940" y="579064"/>
                </a:lnTo>
                <a:lnTo>
                  <a:pt x="1938248" y="587837"/>
                </a:lnTo>
                <a:cubicBezTo>
                  <a:pt x="1920608" y="602291"/>
                  <a:pt x="1891916" y="596966"/>
                  <a:pt x="1883744" y="577714"/>
                </a:cubicBezTo>
                <a:cubicBezTo>
                  <a:pt x="1880828" y="570913"/>
                  <a:pt x="1879172" y="515844"/>
                  <a:pt x="1879172" y="428116"/>
                </a:cubicBezTo>
                <a:lnTo>
                  <a:pt x="1879172" y="289282"/>
                </a:lnTo>
                <a:lnTo>
                  <a:pt x="1303424" y="289282"/>
                </a:lnTo>
                <a:lnTo>
                  <a:pt x="727675" y="289282"/>
                </a:lnTo>
                <a:lnTo>
                  <a:pt x="727675" y="307264"/>
                </a:lnTo>
                <a:cubicBezTo>
                  <a:pt x="727675" y="331063"/>
                  <a:pt x="718351" y="348253"/>
                  <a:pt x="700675" y="357088"/>
                </a:cubicBezTo>
                <a:cubicBezTo>
                  <a:pt x="687716" y="363560"/>
                  <a:pt x="678751" y="364298"/>
                  <a:pt x="613195" y="364313"/>
                </a:cubicBezTo>
                <a:lnTo>
                  <a:pt x="540115" y="364324"/>
                </a:lnTo>
                <a:lnTo>
                  <a:pt x="540115" y="399247"/>
                </a:lnTo>
                <a:lnTo>
                  <a:pt x="540115" y="434167"/>
                </a:lnTo>
                <a:lnTo>
                  <a:pt x="619063" y="466250"/>
                </a:lnTo>
                <a:cubicBezTo>
                  <a:pt x="719540" y="507100"/>
                  <a:pt x="731419" y="517050"/>
                  <a:pt x="726739" y="556700"/>
                </a:cubicBezTo>
                <a:cubicBezTo>
                  <a:pt x="723392" y="585432"/>
                  <a:pt x="716839" y="590000"/>
                  <a:pt x="624607" y="627952"/>
                </a:cubicBezTo>
                <a:lnTo>
                  <a:pt x="540152" y="662717"/>
                </a:lnTo>
                <a:lnTo>
                  <a:pt x="540152" y="697561"/>
                </a:lnTo>
                <a:lnTo>
                  <a:pt x="540115" y="732402"/>
                </a:lnTo>
                <a:lnTo>
                  <a:pt x="613195" y="732417"/>
                </a:lnTo>
                <a:cubicBezTo>
                  <a:pt x="678751" y="732427"/>
                  <a:pt x="687716" y="733169"/>
                  <a:pt x="700675" y="739642"/>
                </a:cubicBezTo>
                <a:cubicBezTo>
                  <a:pt x="718351" y="748473"/>
                  <a:pt x="727675" y="765666"/>
                  <a:pt x="727675" y="789466"/>
                </a:cubicBezTo>
                <a:lnTo>
                  <a:pt x="727675" y="807448"/>
                </a:lnTo>
                <a:lnTo>
                  <a:pt x="779371" y="807448"/>
                </a:lnTo>
                <a:cubicBezTo>
                  <a:pt x="834127" y="807448"/>
                  <a:pt x="856015" y="811228"/>
                  <a:pt x="862963" y="821884"/>
                </a:cubicBezTo>
                <a:cubicBezTo>
                  <a:pt x="870379" y="833188"/>
                  <a:pt x="867860" y="848625"/>
                  <a:pt x="857312" y="856746"/>
                </a:cubicBezTo>
                <a:cubicBezTo>
                  <a:pt x="848312" y="863673"/>
                  <a:pt x="841723" y="864504"/>
                  <a:pt x="788588" y="865408"/>
                </a:cubicBezTo>
                <a:lnTo>
                  <a:pt x="729835" y="866412"/>
                </a:lnTo>
                <a:lnTo>
                  <a:pt x="727387" y="889639"/>
                </a:lnTo>
                <a:cubicBezTo>
                  <a:pt x="724579" y="916470"/>
                  <a:pt x="715759" y="929553"/>
                  <a:pt x="695131" y="937573"/>
                </a:cubicBezTo>
                <a:cubicBezTo>
                  <a:pt x="682567" y="942466"/>
                  <a:pt x="656467" y="943222"/>
                  <a:pt x="504583" y="943103"/>
                </a:cubicBezTo>
                <a:cubicBezTo>
                  <a:pt x="363355" y="942992"/>
                  <a:pt x="325807" y="941973"/>
                  <a:pt x="314503" y="937944"/>
                </a:cubicBezTo>
                <a:close/>
                <a:moveTo>
                  <a:pt x="657871" y="837821"/>
                </a:moveTo>
                <a:lnTo>
                  <a:pt x="657871" y="789577"/>
                </a:lnTo>
                <a:lnTo>
                  <a:pt x="505231" y="789577"/>
                </a:lnTo>
                <a:lnTo>
                  <a:pt x="352555" y="789577"/>
                </a:lnTo>
                <a:lnTo>
                  <a:pt x="352555" y="837821"/>
                </a:lnTo>
                <a:lnTo>
                  <a:pt x="352555" y="886065"/>
                </a:lnTo>
                <a:lnTo>
                  <a:pt x="505231" y="886065"/>
                </a:lnTo>
                <a:lnTo>
                  <a:pt x="657871" y="886065"/>
                </a:lnTo>
                <a:close/>
                <a:moveTo>
                  <a:pt x="583963" y="580428"/>
                </a:moveTo>
                <a:cubicBezTo>
                  <a:pt x="624823" y="563670"/>
                  <a:pt x="657367" y="548795"/>
                  <a:pt x="656251" y="547373"/>
                </a:cubicBezTo>
                <a:cubicBezTo>
                  <a:pt x="655171" y="545954"/>
                  <a:pt x="620719" y="531158"/>
                  <a:pt x="579751" y="514498"/>
                </a:cubicBezTo>
                <a:lnTo>
                  <a:pt x="505231" y="484207"/>
                </a:lnTo>
                <a:lnTo>
                  <a:pt x="430711" y="514498"/>
                </a:lnTo>
                <a:cubicBezTo>
                  <a:pt x="389707" y="531158"/>
                  <a:pt x="355291" y="545951"/>
                  <a:pt x="354175" y="547373"/>
                </a:cubicBezTo>
                <a:cubicBezTo>
                  <a:pt x="352087" y="550113"/>
                  <a:pt x="494827" y="610391"/>
                  <a:pt x="504187" y="610711"/>
                </a:cubicBezTo>
                <a:cubicBezTo>
                  <a:pt x="507211" y="610816"/>
                  <a:pt x="543104" y="597190"/>
                  <a:pt x="583963" y="580428"/>
                </a:cubicBezTo>
                <a:close/>
                <a:moveTo>
                  <a:pt x="657871" y="258905"/>
                </a:moveTo>
                <a:lnTo>
                  <a:pt x="657871" y="210661"/>
                </a:lnTo>
                <a:lnTo>
                  <a:pt x="505231" y="210661"/>
                </a:lnTo>
                <a:lnTo>
                  <a:pt x="352555" y="210661"/>
                </a:lnTo>
                <a:lnTo>
                  <a:pt x="352555" y="258905"/>
                </a:lnTo>
                <a:lnTo>
                  <a:pt x="352555" y="307148"/>
                </a:lnTo>
                <a:lnTo>
                  <a:pt x="505231" y="307148"/>
                </a:lnTo>
                <a:lnTo>
                  <a:pt x="657871" y="307148"/>
                </a:lnTo>
                <a:close/>
              </a:path>
            </a:pathLst>
          </a:custGeom>
          <a:solidFill>
            <a:schemeClr val="bg1"/>
          </a:solidFill>
          <a:ln w="3950" cap="flat">
            <a:noFill/>
            <a:prstDash val="solid"/>
            <a:miter/>
          </a:ln>
        </p:spPr>
        <p:txBody>
          <a:bodyPr rtlCol="0" anchor="ctr"/>
          <a:lstStyle/>
          <a:p>
            <a:endParaRPr lang="en-IN"/>
          </a:p>
        </p:txBody>
      </p:sp>
      <p:sp>
        <p:nvSpPr>
          <p:cNvPr id="105" name="Freeform: Shape 104">
            <a:extLst>
              <a:ext uri="{FF2B5EF4-FFF2-40B4-BE49-F238E27FC236}">
                <a16:creationId xmlns:a16="http://schemas.microsoft.com/office/drawing/2014/main" id="{50915CF6-DAEB-4D57-A9F3-62481BCDC323}"/>
              </a:ext>
            </a:extLst>
          </p:cNvPr>
          <p:cNvSpPr/>
          <p:nvPr/>
        </p:nvSpPr>
        <p:spPr>
          <a:xfrm>
            <a:off x="5459275" y="1376543"/>
            <a:ext cx="365760" cy="365760"/>
          </a:xfrm>
          <a:custGeom>
            <a:avLst/>
            <a:gdLst>
              <a:gd name="connsiteX0" fmla="*/ 26509 w 2120821"/>
              <a:gd name="connsiteY0" fmla="*/ 2256279 h 2259148"/>
              <a:gd name="connsiteX1" fmla="*/ 9932 w 2120821"/>
              <a:gd name="connsiteY1" fmla="*/ 2242833 h 2259148"/>
              <a:gd name="connsiteX2" fmla="*/ 436 w 2120821"/>
              <a:gd name="connsiteY2" fmla="*/ 2096322 h 2259148"/>
              <a:gd name="connsiteX3" fmla="*/ 5766 w 2120821"/>
              <a:gd name="connsiteY3" fmla="*/ 1932417 h 2259148"/>
              <a:gd name="connsiteX4" fmla="*/ 61735 w 2120821"/>
              <a:gd name="connsiteY4" fmla="*/ 1827836 h 2259148"/>
              <a:gd name="connsiteX5" fmla="*/ 223417 w 2120821"/>
              <a:gd name="connsiteY5" fmla="*/ 1761511 h 2259148"/>
              <a:gd name="connsiteX6" fmla="*/ 263175 w 2120821"/>
              <a:gd name="connsiteY6" fmla="*/ 1761511 h 2259148"/>
              <a:gd name="connsiteX7" fmla="*/ 249707 w 2120821"/>
              <a:gd name="connsiteY7" fmla="*/ 1731710 h 2259148"/>
              <a:gd name="connsiteX8" fmla="*/ 238130 w 2120821"/>
              <a:gd name="connsiteY8" fmla="*/ 1546978 h 2259148"/>
              <a:gd name="connsiteX9" fmla="*/ 422281 w 2120821"/>
              <a:gd name="connsiteY9" fmla="*/ 1399462 h 2259148"/>
              <a:gd name="connsiteX10" fmla="*/ 606434 w 2120821"/>
              <a:gd name="connsiteY10" fmla="*/ 1546978 h 2259148"/>
              <a:gd name="connsiteX11" fmla="*/ 594857 w 2120821"/>
              <a:gd name="connsiteY11" fmla="*/ 1731710 h 2259148"/>
              <a:gd name="connsiteX12" fmla="*/ 581391 w 2120821"/>
              <a:gd name="connsiteY12" fmla="*/ 1761511 h 2259148"/>
              <a:gd name="connsiteX13" fmla="*/ 621148 w 2120821"/>
              <a:gd name="connsiteY13" fmla="*/ 1761511 h 2259148"/>
              <a:gd name="connsiteX14" fmla="*/ 782829 w 2120821"/>
              <a:gd name="connsiteY14" fmla="*/ 1827836 h 2259148"/>
              <a:gd name="connsiteX15" fmla="*/ 838800 w 2120821"/>
              <a:gd name="connsiteY15" fmla="*/ 1932417 h 2259148"/>
              <a:gd name="connsiteX16" fmla="*/ 844129 w 2120821"/>
              <a:gd name="connsiteY16" fmla="*/ 2096669 h 2259148"/>
              <a:gd name="connsiteX17" fmla="*/ 842920 w 2120821"/>
              <a:gd name="connsiteY17" fmla="*/ 2233720 h 2259148"/>
              <a:gd name="connsiteX18" fmla="*/ 831433 w 2120821"/>
              <a:gd name="connsiteY18" fmla="*/ 2245986 h 2259148"/>
              <a:gd name="connsiteX19" fmla="*/ 819942 w 2120821"/>
              <a:gd name="connsiteY19" fmla="*/ 2258219 h 2259148"/>
              <a:gd name="connsiteX20" fmla="*/ 427368 w 2120821"/>
              <a:gd name="connsiteY20" fmla="*/ 2259051 h 2259148"/>
              <a:gd name="connsiteX21" fmla="*/ 26509 w 2120821"/>
              <a:gd name="connsiteY21" fmla="*/ 2256279 h 2259148"/>
              <a:gd name="connsiteX22" fmla="*/ 761331 w 2120821"/>
              <a:gd name="connsiteY22" fmla="*/ 2060631 h 2259148"/>
              <a:gd name="connsiteX23" fmla="*/ 760038 w 2120821"/>
              <a:gd name="connsiteY23" fmla="*/ 1949154 h 2259148"/>
              <a:gd name="connsiteX24" fmla="*/ 748388 w 2120821"/>
              <a:gd name="connsiteY24" fmla="*/ 1923858 h 2259148"/>
              <a:gd name="connsiteX25" fmla="*/ 680435 w 2120821"/>
              <a:gd name="connsiteY25" fmla="*/ 1858677 h 2259148"/>
              <a:gd name="connsiteX26" fmla="*/ 561306 w 2120821"/>
              <a:gd name="connsiteY26" fmla="*/ 1849805 h 2259148"/>
              <a:gd name="connsiteX27" fmla="*/ 464418 w 2120821"/>
              <a:gd name="connsiteY27" fmla="*/ 1849805 h 2259148"/>
              <a:gd name="connsiteX28" fmla="*/ 463036 w 2120821"/>
              <a:gd name="connsiteY28" fmla="*/ 1902685 h 2259148"/>
              <a:gd name="connsiteX29" fmla="*/ 450256 w 2120821"/>
              <a:gd name="connsiteY29" fmla="*/ 1967727 h 2259148"/>
              <a:gd name="connsiteX30" fmla="*/ 394309 w 2120821"/>
              <a:gd name="connsiteY30" fmla="*/ 1967727 h 2259148"/>
              <a:gd name="connsiteX31" fmla="*/ 381530 w 2120821"/>
              <a:gd name="connsiteY31" fmla="*/ 1902685 h 2259148"/>
              <a:gd name="connsiteX32" fmla="*/ 380147 w 2120821"/>
              <a:gd name="connsiteY32" fmla="*/ 1849805 h 2259148"/>
              <a:gd name="connsiteX33" fmla="*/ 283259 w 2120821"/>
              <a:gd name="connsiteY33" fmla="*/ 1849805 h 2259148"/>
              <a:gd name="connsiteX34" fmla="*/ 164131 w 2120821"/>
              <a:gd name="connsiteY34" fmla="*/ 1858677 h 2259148"/>
              <a:gd name="connsiteX35" fmla="*/ 96177 w 2120821"/>
              <a:gd name="connsiteY35" fmla="*/ 1923858 h 2259148"/>
              <a:gd name="connsiteX36" fmla="*/ 84528 w 2120821"/>
              <a:gd name="connsiteY36" fmla="*/ 1949154 h 2259148"/>
              <a:gd name="connsiteX37" fmla="*/ 83233 w 2120821"/>
              <a:gd name="connsiteY37" fmla="*/ 2060631 h 2259148"/>
              <a:gd name="connsiteX38" fmla="*/ 81939 w 2120821"/>
              <a:gd name="connsiteY38" fmla="*/ 2172108 h 2259148"/>
              <a:gd name="connsiteX39" fmla="*/ 422281 w 2120821"/>
              <a:gd name="connsiteY39" fmla="*/ 2172108 h 2259148"/>
              <a:gd name="connsiteX40" fmla="*/ 762627 w 2120821"/>
              <a:gd name="connsiteY40" fmla="*/ 2172108 h 2259148"/>
              <a:gd name="connsiteX41" fmla="*/ 454743 w 2120821"/>
              <a:gd name="connsiteY41" fmla="*/ 1754684 h 2259148"/>
              <a:gd name="connsiteX42" fmla="*/ 532316 w 2120821"/>
              <a:gd name="connsiteY42" fmla="*/ 1602699 h 2259148"/>
              <a:gd name="connsiteX43" fmla="*/ 422281 w 2120821"/>
              <a:gd name="connsiteY43" fmla="*/ 1487757 h 2259148"/>
              <a:gd name="connsiteX44" fmla="*/ 312249 w 2120821"/>
              <a:gd name="connsiteY44" fmla="*/ 1602699 h 2259148"/>
              <a:gd name="connsiteX45" fmla="*/ 385795 w 2120821"/>
              <a:gd name="connsiteY45" fmla="*/ 1753125 h 2259148"/>
              <a:gd name="connsiteX46" fmla="*/ 454743 w 2120821"/>
              <a:gd name="connsiteY46" fmla="*/ 1754684 h 2259148"/>
              <a:gd name="connsiteX47" fmla="*/ 1302931 w 2120821"/>
              <a:gd name="connsiteY47" fmla="*/ 2256279 h 2259148"/>
              <a:gd name="connsiteX48" fmla="*/ 1286353 w 2120821"/>
              <a:gd name="connsiteY48" fmla="*/ 2242833 h 2259148"/>
              <a:gd name="connsiteX49" fmla="*/ 1276858 w 2120821"/>
              <a:gd name="connsiteY49" fmla="*/ 2096322 h 2259148"/>
              <a:gd name="connsiteX50" fmla="*/ 1282188 w 2120821"/>
              <a:gd name="connsiteY50" fmla="*/ 1932417 h 2259148"/>
              <a:gd name="connsiteX51" fmla="*/ 1338158 w 2120821"/>
              <a:gd name="connsiteY51" fmla="*/ 1827836 h 2259148"/>
              <a:gd name="connsiteX52" fmla="*/ 1499840 w 2120821"/>
              <a:gd name="connsiteY52" fmla="*/ 1761511 h 2259148"/>
              <a:gd name="connsiteX53" fmla="*/ 1539596 w 2120821"/>
              <a:gd name="connsiteY53" fmla="*/ 1761511 h 2259148"/>
              <a:gd name="connsiteX54" fmla="*/ 1526131 w 2120821"/>
              <a:gd name="connsiteY54" fmla="*/ 1731710 h 2259148"/>
              <a:gd name="connsiteX55" fmla="*/ 1514553 w 2120821"/>
              <a:gd name="connsiteY55" fmla="*/ 1546978 h 2259148"/>
              <a:gd name="connsiteX56" fmla="*/ 1698703 w 2120821"/>
              <a:gd name="connsiteY56" fmla="*/ 1399462 h 2259148"/>
              <a:gd name="connsiteX57" fmla="*/ 1882856 w 2120821"/>
              <a:gd name="connsiteY57" fmla="*/ 1546978 h 2259148"/>
              <a:gd name="connsiteX58" fmla="*/ 1871279 w 2120821"/>
              <a:gd name="connsiteY58" fmla="*/ 1731710 h 2259148"/>
              <a:gd name="connsiteX59" fmla="*/ 1857813 w 2120821"/>
              <a:gd name="connsiteY59" fmla="*/ 1761511 h 2259148"/>
              <a:gd name="connsiteX60" fmla="*/ 1897570 w 2120821"/>
              <a:gd name="connsiteY60" fmla="*/ 1761511 h 2259148"/>
              <a:gd name="connsiteX61" fmla="*/ 2059251 w 2120821"/>
              <a:gd name="connsiteY61" fmla="*/ 1827836 h 2259148"/>
              <a:gd name="connsiteX62" fmla="*/ 2115222 w 2120821"/>
              <a:gd name="connsiteY62" fmla="*/ 1932417 h 2259148"/>
              <a:gd name="connsiteX63" fmla="*/ 2120551 w 2120821"/>
              <a:gd name="connsiteY63" fmla="*/ 2096669 h 2259148"/>
              <a:gd name="connsiteX64" fmla="*/ 2119345 w 2120821"/>
              <a:gd name="connsiteY64" fmla="*/ 2233720 h 2259148"/>
              <a:gd name="connsiteX65" fmla="*/ 2107855 w 2120821"/>
              <a:gd name="connsiteY65" fmla="*/ 2245986 h 2259148"/>
              <a:gd name="connsiteX66" fmla="*/ 2096364 w 2120821"/>
              <a:gd name="connsiteY66" fmla="*/ 2258219 h 2259148"/>
              <a:gd name="connsiteX67" fmla="*/ 1703790 w 2120821"/>
              <a:gd name="connsiteY67" fmla="*/ 2259051 h 2259148"/>
              <a:gd name="connsiteX68" fmla="*/ 1302931 w 2120821"/>
              <a:gd name="connsiteY68" fmla="*/ 2256279 h 2259148"/>
              <a:gd name="connsiteX69" fmla="*/ 2037753 w 2120821"/>
              <a:gd name="connsiteY69" fmla="*/ 2060631 h 2259148"/>
              <a:gd name="connsiteX70" fmla="*/ 2036460 w 2120821"/>
              <a:gd name="connsiteY70" fmla="*/ 1949154 h 2259148"/>
              <a:gd name="connsiteX71" fmla="*/ 2024810 w 2120821"/>
              <a:gd name="connsiteY71" fmla="*/ 1923858 h 2259148"/>
              <a:gd name="connsiteX72" fmla="*/ 1956857 w 2120821"/>
              <a:gd name="connsiteY72" fmla="*/ 1858677 h 2259148"/>
              <a:gd name="connsiteX73" fmla="*/ 1837729 w 2120821"/>
              <a:gd name="connsiteY73" fmla="*/ 1849805 h 2259148"/>
              <a:gd name="connsiteX74" fmla="*/ 1740841 w 2120821"/>
              <a:gd name="connsiteY74" fmla="*/ 1849805 h 2259148"/>
              <a:gd name="connsiteX75" fmla="*/ 1739458 w 2120821"/>
              <a:gd name="connsiteY75" fmla="*/ 1902685 h 2259148"/>
              <a:gd name="connsiteX76" fmla="*/ 1726678 w 2120821"/>
              <a:gd name="connsiteY76" fmla="*/ 1967727 h 2259148"/>
              <a:gd name="connsiteX77" fmla="*/ 1670732 w 2120821"/>
              <a:gd name="connsiteY77" fmla="*/ 1967727 h 2259148"/>
              <a:gd name="connsiteX78" fmla="*/ 1657952 w 2120821"/>
              <a:gd name="connsiteY78" fmla="*/ 1902685 h 2259148"/>
              <a:gd name="connsiteX79" fmla="*/ 1656569 w 2120821"/>
              <a:gd name="connsiteY79" fmla="*/ 1849805 h 2259148"/>
              <a:gd name="connsiteX80" fmla="*/ 1559681 w 2120821"/>
              <a:gd name="connsiteY80" fmla="*/ 1849805 h 2259148"/>
              <a:gd name="connsiteX81" fmla="*/ 1440553 w 2120821"/>
              <a:gd name="connsiteY81" fmla="*/ 1858677 h 2259148"/>
              <a:gd name="connsiteX82" fmla="*/ 1372600 w 2120821"/>
              <a:gd name="connsiteY82" fmla="*/ 1923858 h 2259148"/>
              <a:gd name="connsiteX83" fmla="*/ 1360949 w 2120821"/>
              <a:gd name="connsiteY83" fmla="*/ 1949154 h 2259148"/>
              <a:gd name="connsiteX84" fmla="*/ 1359657 w 2120821"/>
              <a:gd name="connsiteY84" fmla="*/ 2060631 h 2259148"/>
              <a:gd name="connsiteX85" fmla="*/ 1358361 w 2120821"/>
              <a:gd name="connsiteY85" fmla="*/ 2172108 h 2259148"/>
              <a:gd name="connsiteX86" fmla="*/ 1698703 w 2120821"/>
              <a:gd name="connsiteY86" fmla="*/ 2172108 h 2259148"/>
              <a:gd name="connsiteX87" fmla="*/ 2039049 w 2120821"/>
              <a:gd name="connsiteY87" fmla="*/ 2172108 h 2259148"/>
              <a:gd name="connsiteX88" fmla="*/ 1731166 w 2120821"/>
              <a:gd name="connsiteY88" fmla="*/ 1754684 h 2259148"/>
              <a:gd name="connsiteX89" fmla="*/ 1808738 w 2120821"/>
              <a:gd name="connsiteY89" fmla="*/ 1602699 h 2259148"/>
              <a:gd name="connsiteX90" fmla="*/ 1698703 w 2120821"/>
              <a:gd name="connsiteY90" fmla="*/ 1487757 h 2259148"/>
              <a:gd name="connsiteX91" fmla="*/ 1588671 w 2120821"/>
              <a:gd name="connsiteY91" fmla="*/ 1602699 h 2259148"/>
              <a:gd name="connsiteX92" fmla="*/ 1662218 w 2120821"/>
              <a:gd name="connsiteY92" fmla="*/ 1753125 h 2259148"/>
              <a:gd name="connsiteX93" fmla="*/ 1731166 w 2120821"/>
              <a:gd name="connsiteY93" fmla="*/ 1754684 h 2259148"/>
              <a:gd name="connsiteX94" fmla="*/ 813912 w 2120821"/>
              <a:gd name="connsiteY94" fmla="*/ 1791936 h 2259148"/>
              <a:gd name="connsiteX95" fmla="*/ 791211 w 2120821"/>
              <a:gd name="connsiteY95" fmla="*/ 1750803 h 2259148"/>
              <a:gd name="connsiteX96" fmla="*/ 905086 w 2120821"/>
              <a:gd name="connsiteY96" fmla="*/ 1611535 h 2259148"/>
              <a:gd name="connsiteX97" fmla="*/ 1019051 w 2120821"/>
              <a:gd name="connsiteY97" fmla="*/ 1489628 h 2259148"/>
              <a:gd name="connsiteX98" fmla="*/ 1019051 w 2120821"/>
              <a:gd name="connsiteY98" fmla="*/ 1393537 h 2259148"/>
              <a:gd name="connsiteX99" fmla="*/ 1039541 w 2120821"/>
              <a:gd name="connsiteY99" fmla="*/ 1267125 h 2259148"/>
              <a:gd name="connsiteX100" fmla="*/ 1081443 w 2120821"/>
              <a:gd name="connsiteY100" fmla="*/ 1267125 h 2259148"/>
              <a:gd name="connsiteX101" fmla="*/ 1101936 w 2120821"/>
              <a:gd name="connsiteY101" fmla="*/ 1393537 h 2259148"/>
              <a:gd name="connsiteX102" fmla="*/ 1101936 w 2120821"/>
              <a:gd name="connsiteY102" fmla="*/ 1489628 h 2259148"/>
              <a:gd name="connsiteX103" fmla="*/ 1215901 w 2120821"/>
              <a:gd name="connsiteY103" fmla="*/ 1611535 h 2259148"/>
              <a:gd name="connsiteX104" fmla="*/ 1329870 w 2120821"/>
              <a:gd name="connsiteY104" fmla="*/ 1749833 h 2259148"/>
              <a:gd name="connsiteX105" fmla="*/ 1281256 w 2120821"/>
              <a:gd name="connsiteY105" fmla="*/ 1794881 h 2259148"/>
              <a:gd name="connsiteX106" fmla="*/ 1165135 w 2120821"/>
              <a:gd name="connsiteY106" fmla="*/ 1680702 h 2259148"/>
              <a:gd name="connsiteX107" fmla="*/ 1060492 w 2120821"/>
              <a:gd name="connsiteY107" fmla="*/ 1569502 h 2259148"/>
              <a:gd name="connsiteX108" fmla="*/ 955707 w 2120821"/>
              <a:gd name="connsiteY108" fmla="*/ 1681083 h 2259148"/>
              <a:gd name="connsiteX109" fmla="*/ 836558 w 2120821"/>
              <a:gd name="connsiteY109" fmla="*/ 1794812 h 2259148"/>
              <a:gd name="connsiteX110" fmla="*/ 813912 w 2120821"/>
              <a:gd name="connsiteY110" fmla="*/ 1791936 h 2259148"/>
              <a:gd name="connsiteX111" fmla="*/ 572721 w 2120821"/>
              <a:gd name="connsiteY111" fmla="*/ 1165628 h 2259148"/>
              <a:gd name="connsiteX112" fmla="*/ 551909 w 2120821"/>
              <a:gd name="connsiteY112" fmla="*/ 991049 h 2259148"/>
              <a:gd name="connsiteX113" fmla="*/ 562467 w 2120821"/>
              <a:gd name="connsiteY113" fmla="*/ 829291 h 2259148"/>
              <a:gd name="connsiteX114" fmla="*/ 722738 w 2120821"/>
              <a:gd name="connsiteY114" fmla="*/ 618223 h 2259148"/>
              <a:gd name="connsiteX115" fmla="*/ 840435 w 2120821"/>
              <a:gd name="connsiteY115" fmla="*/ 583813 h 2259148"/>
              <a:gd name="connsiteX116" fmla="*/ 874384 w 2120821"/>
              <a:gd name="connsiteY116" fmla="*/ 580452 h 2259148"/>
              <a:gd name="connsiteX117" fmla="*/ 863500 w 2120821"/>
              <a:gd name="connsiteY117" fmla="*/ 564997 h 2259148"/>
              <a:gd name="connsiteX118" fmla="*/ 822156 w 2120821"/>
              <a:gd name="connsiteY118" fmla="*/ 473584 h 2259148"/>
              <a:gd name="connsiteX119" fmla="*/ 822555 w 2120821"/>
              <a:gd name="connsiteY119" fmla="*/ 196964 h 2259148"/>
              <a:gd name="connsiteX120" fmla="*/ 1060492 w 2120821"/>
              <a:gd name="connsiteY120" fmla="*/ 7 h 2259148"/>
              <a:gd name="connsiteX121" fmla="*/ 1298433 w 2120821"/>
              <a:gd name="connsiteY121" fmla="*/ 196964 h 2259148"/>
              <a:gd name="connsiteX122" fmla="*/ 1298831 w 2120821"/>
              <a:gd name="connsiteY122" fmla="*/ 473584 h 2259148"/>
              <a:gd name="connsiteX123" fmla="*/ 1257488 w 2120821"/>
              <a:gd name="connsiteY123" fmla="*/ 564997 h 2259148"/>
              <a:gd name="connsiteX124" fmla="*/ 1246603 w 2120821"/>
              <a:gd name="connsiteY124" fmla="*/ 580452 h 2259148"/>
              <a:gd name="connsiteX125" fmla="*/ 1280552 w 2120821"/>
              <a:gd name="connsiteY125" fmla="*/ 583813 h 2259148"/>
              <a:gd name="connsiteX126" fmla="*/ 1398249 w 2120821"/>
              <a:gd name="connsiteY126" fmla="*/ 618223 h 2259148"/>
              <a:gd name="connsiteX127" fmla="*/ 1558520 w 2120821"/>
              <a:gd name="connsiteY127" fmla="*/ 829291 h 2259148"/>
              <a:gd name="connsiteX128" fmla="*/ 1569079 w 2120821"/>
              <a:gd name="connsiteY128" fmla="*/ 991049 h 2259148"/>
              <a:gd name="connsiteX129" fmla="*/ 1548267 w 2120821"/>
              <a:gd name="connsiteY129" fmla="*/ 1165628 h 2259148"/>
              <a:gd name="connsiteX130" fmla="*/ 1060492 w 2120821"/>
              <a:gd name="connsiteY130" fmla="*/ 1174256 h 2259148"/>
              <a:gd name="connsiteX131" fmla="*/ 572721 w 2120821"/>
              <a:gd name="connsiteY131" fmla="*/ 1165628 h 2259148"/>
              <a:gd name="connsiteX132" fmla="*/ 1486336 w 2120821"/>
              <a:gd name="connsiteY132" fmla="*/ 976703 h 2259148"/>
              <a:gd name="connsiteX133" fmla="*/ 1475431 w 2120821"/>
              <a:gd name="connsiteY133" fmla="*/ 838058 h 2259148"/>
              <a:gd name="connsiteX134" fmla="*/ 1362464 w 2120821"/>
              <a:gd name="connsiteY134" fmla="*/ 697162 h 2259148"/>
              <a:gd name="connsiteX135" fmla="*/ 1194493 w 2120821"/>
              <a:gd name="connsiteY135" fmla="*/ 671034 h 2259148"/>
              <a:gd name="connsiteX136" fmla="*/ 1102629 w 2120821"/>
              <a:gd name="connsiteY136" fmla="*/ 670964 h 2259148"/>
              <a:gd name="connsiteX137" fmla="*/ 1101247 w 2120821"/>
              <a:gd name="connsiteY137" fmla="*/ 723844 h 2259148"/>
              <a:gd name="connsiteX138" fmla="*/ 1088467 w 2120821"/>
              <a:gd name="connsiteY138" fmla="*/ 788886 h 2259148"/>
              <a:gd name="connsiteX139" fmla="*/ 1032521 w 2120821"/>
              <a:gd name="connsiteY139" fmla="*/ 788886 h 2259148"/>
              <a:gd name="connsiteX140" fmla="*/ 1019741 w 2120821"/>
              <a:gd name="connsiteY140" fmla="*/ 723844 h 2259148"/>
              <a:gd name="connsiteX141" fmla="*/ 1018358 w 2120821"/>
              <a:gd name="connsiteY141" fmla="*/ 670964 h 2259148"/>
              <a:gd name="connsiteX142" fmla="*/ 926495 w 2120821"/>
              <a:gd name="connsiteY142" fmla="*/ 671034 h 2259148"/>
              <a:gd name="connsiteX143" fmla="*/ 758524 w 2120821"/>
              <a:gd name="connsiteY143" fmla="*/ 697162 h 2259148"/>
              <a:gd name="connsiteX144" fmla="*/ 645553 w 2120821"/>
              <a:gd name="connsiteY144" fmla="*/ 838058 h 2259148"/>
              <a:gd name="connsiteX145" fmla="*/ 634652 w 2120821"/>
              <a:gd name="connsiteY145" fmla="*/ 976703 h 2259148"/>
              <a:gd name="connsiteX146" fmla="*/ 632632 w 2120821"/>
              <a:gd name="connsiteY146" fmla="*/ 1085997 h 2259148"/>
              <a:gd name="connsiteX147" fmla="*/ 1060492 w 2120821"/>
              <a:gd name="connsiteY147" fmla="*/ 1085997 h 2259148"/>
              <a:gd name="connsiteX148" fmla="*/ 1488356 w 2120821"/>
              <a:gd name="connsiteY148" fmla="*/ 1085997 h 2259148"/>
              <a:gd name="connsiteX149" fmla="*/ 1033536 w 2120821"/>
              <a:gd name="connsiteY149" fmla="*/ 960520 h 2259148"/>
              <a:gd name="connsiteX150" fmla="*/ 1023296 w 2120821"/>
              <a:gd name="connsiteY150" fmla="*/ 913531 h 2259148"/>
              <a:gd name="connsiteX151" fmla="*/ 1060492 w 2120821"/>
              <a:gd name="connsiteY151" fmla="*/ 887299 h 2259148"/>
              <a:gd name="connsiteX152" fmla="*/ 1097691 w 2120821"/>
              <a:gd name="connsiteY152" fmla="*/ 913531 h 2259148"/>
              <a:gd name="connsiteX153" fmla="*/ 1060492 w 2120821"/>
              <a:gd name="connsiteY153" fmla="*/ 971193 h 2259148"/>
              <a:gd name="connsiteX154" fmla="*/ 1033536 w 2120821"/>
              <a:gd name="connsiteY154" fmla="*/ 960520 h 2259148"/>
              <a:gd name="connsiteX155" fmla="*/ 1099864 w 2120821"/>
              <a:gd name="connsiteY155" fmla="*/ 576640 h 2259148"/>
              <a:gd name="connsiteX156" fmla="*/ 1176193 w 2120821"/>
              <a:gd name="connsiteY156" fmla="*/ 530016 h 2259148"/>
              <a:gd name="connsiteX157" fmla="*/ 1226179 w 2120821"/>
              <a:gd name="connsiteY157" fmla="*/ 370590 h 2259148"/>
              <a:gd name="connsiteX158" fmla="*/ 1226262 w 2120821"/>
              <a:gd name="connsiteY158" fmla="*/ 341752 h 2259148"/>
              <a:gd name="connsiteX159" fmla="*/ 1187930 w 2120821"/>
              <a:gd name="connsiteY159" fmla="*/ 317814 h 2259148"/>
              <a:gd name="connsiteX160" fmla="*/ 1143381 w 2120821"/>
              <a:gd name="connsiteY160" fmla="*/ 290027 h 2259148"/>
              <a:gd name="connsiteX161" fmla="*/ 1104009 w 2120821"/>
              <a:gd name="connsiteY161" fmla="*/ 309830 h 2259148"/>
              <a:gd name="connsiteX162" fmla="*/ 954816 w 2120821"/>
              <a:gd name="connsiteY162" fmla="*/ 357038 h 2259148"/>
              <a:gd name="connsiteX163" fmla="*/ 896797 w 2120821"/>
              <a:gd name="connsiteY163" fmla="*/ 359689 h 2259148"/>
              <a:gd name="connsiteX164" fmla="*/ 895449 w 2120821"/>
              <a:gd name="connsiteY164" fmla="*/ 374769 h 2259148"/>
              <a:gd name="connsiteX165" fmla="*/ 914453 w 2120821"/>
              <a:gd name="connsiteY165" fmla="*/ 485231 h 2259148"/>
              <a:gd name="connsiteX166" fmla="*/ 1099864 w 2120821"/>
              <a:gd name="connsiteY166" fmla="*/ 576640 h 2259148"/>
              <a:gd name="connsiteX167" fmla="*/ 977382 w 2120821"/>
              <a:gd name="connsiteY167" fmla="*/ 269055 h 2259148"/>
              <a:gd name="connsiteX168" fmla="*/ 1085043 w 2120821"/>
              <a:gd name="connsiteY168" fmla="*/ 213590 h 2259148"/>
              <a:gd name="connsiteX169" fmla="*/ 1181817 w 2120821"/>
              <a:gd name="connsiteY169" fmla="*/ 211574 h 2259148"/>
              <a:gd name="connsiteX170" fmla="*/ 1220361 w 2120821"/>
              <a:gd name="connsiteY170" fmla="*/ 232788 h 2259148"/>
              <a:gd name="connsiteX171" fmla="*/ 1193630 w 2120821"/>
              <a:gd name="connsiteY171" fmla="*/ 161816 h 2259148"/>
              <a:gd name="connsiteX172" fmla="*/ 1035379 w 2120821"/>
              <a:gd name="connsiteY172" fmla="*/ 91704 h 2259148"/>
              <a:gd name="connsiteX173" fmla="*/ 897650 w 2120821"/>
              <a:gd name="connsiteY173" fmla="*/ 250135 h 2259148"/>
              <a:gd name="connsiteX174" fmla="*/ 897917 w 2120821"/>
              <a:gd name="connsiteY174" fmla="*/ 271106 h 2259148"/>
              <a:gd name="connsiteX175" fmla="*/ 977382 w 2120821"/>
              <a:gd name="connsiteY175" fmla="*/ 269055 h 225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2120821" h="2259148">
                <a:moveTo>
                  <a:pt x="26509" y="2256279"/>
                </a:moveTo>
                <a:cubicBezTo>
                  <a:pt x="21950" y="2254269"/>
                  <a:pt x="14490" y="2248205"/>
                  <a:pt x="9932" y="2242833"/>
                </a:cubicBezTo>
                <a:cubicBezTo>
                  <a:pt x="2079" y="2233512"/>
                  <a:pt x="1580" y="2225819"/>
                  <a:pt x="436" y="2096322"/>
                </a:cubicBezTo>
                <a:cubicBezTo>
                  <a:pt x="-562" y="1983182"/>
                  <a:pt x="356" y="1954941"/>
                  <a:pt x="5766" y="1932417"/>
                </a:cubicBezTo>
                <a:cubicBezTo>
                  <a:pt x="15974" y="1889968"/>
                  <a:pt x="32494" y="1859092"/>
                  <a:pt x="61735" y="1827836"/>
                </a:cubicBezTo>
                <a:cubicBezTo>
                  <a:pt x="105565" y="1780951"/>
                  <a:pt x="153006" y="1761511"/>
                  <a:pt x="223417" y="1761511"/>
                </a:cubicBezTo>
                <a:lnTo>
                  <a:pt x="263175" y="1761511"/>
                </a:lnTo>
                <a:lnTo>
                  <a:pt x="249707" y="1731710"/>
                </a:lnTo>
                <a:cubicBezTo>
                  <a:pt x="227334" y="1682192"/>
                  <a:pt x="222625" y="1607065"/>
                  <a:pt x="238130" y="1546978"/>
                </a:cubicBezTo>
                <a:cubicBezTo>
                  <a:pt x="260154" y="1461594"/>
                  <a:pt x="337743" y="1399462"/>
                  <a:pt x="422281" y="1399462"/>
                </a:cubicBezTo>
                <a:cubicBezTo>
                  <a:pt x="506822" y="1399462"/>
                  <a:pt x="584409" y="1461594"/>
                  <a:pt x="606434" y="1546978"/>
                </a:cubicBezTo>
                <a:cubicBezTo>
                  <a:pt x="621938" y="1607065"/>
                  <a:pt x="617232" y="1682192"/>
                  <a:pt x="594857" y="1731710"/>
                </a:cubicBezTo>
                <a:lnTo>
                  <a:pt x="581391" y="1761511"/>
                </a:lnTo>
                <a:lnTo>
                  <a:pt x="621148" y="1761511"/>
                </a:lnTo>
                <a:cubicBezTo>
                  <a:pt x="691558" y="1761511"/>
                  <a:pt x="739001" y="1780951"/>
                  <a:pt x="782829" y="1827836"/>
                </a:cubicBezTo>
                <a:cubicBezTo>
                  <a:pt x="812069" y="1859092"/>
                  <a:pt x="828591" y="1889968"/>
                  <a:pt x="838800" y="1932417"/>
                </a:cubicBezTo>
                <a:cubicBezTo>
                  <a:pt x="844209" y="1954941"/>
                  <a:pt x="845127" y="1983217"/>
                  <a:pt x="844129" y="2096669"/>
                </a:cubicBezTo>
                <a:lnTo>
                  <a:pt x="842920" y="2233720"/>
                </a:lnTo>
                <a:lnTo>
                  <a:pt x="831433" y="2245986"/>
                </a:lnTo>
                <a:lnTo>
                  <a:pt x="819942" y="2258219"/>
                </a:lnTo>
                <a:lnTo>
                  <a:pt x="427368" y="2259051"/>
                </a:lnTo>
                <a:cubicBezTo>
                  <a:pt x="211455" y="2259536"/>
                  <a:pt x="31067" y="2258288"/>
                  <a:pt x="26509" y="2256279"/>
                </a:cubicBezTo>
                <a:close/>
                <a:moveTo>
                  <a:pt x="761331" y="2060631"/>
                </a:moveTo>
                <a:lnTo>
                  <a:pt x="760038" y="1949154"/>
                </a:lnTo>
                <a:lnTo>
                  <a:pt x="748388" y="1923858"/>
                </a:lnTo>
                <a:cubicBezTo>
                  <a:pt x="734406" y="1893537"/>
                  <a:pt x="710596" y="1870701"/>
                  <a:pt x="680435" y="1858677"/>
                </a:cubicBezTo>
                <a:cubicBezTo>
                  <a:pt x="660492" y="1850706"/>
                  <a:pt x="648173" y="1849805"/>
                  <a:pt x="561306" y="1849805"/>
                </a:cubicBezTo>
                <a:lnTo>
                  <a:pt x="464418" y="1849805"/>
                </a:lnTo>
                <a:lnTo>
                  <a:pt x="463036" y="1902685"/>
                </a:lnTo>
                <a:cubicBezTo>
                  <a:pt x="461705" y="1953624"/>
                  <a:pt x="461227" y="1956050"/>
                  <a:pt x="450256" y="1967727"/>
                </a:cubicBezTo>
                <a:cubicBezTo>
                  <a:pt x="434354" y="1984638"/>
                  <a:pt x="410211" y="1984638"/>
                  <a:pt x="394309" y="1967727"/>
                </a:cubicBezTo>
                <a:cubicBezTo>
                  <a:pt x="383339" y="1956050"/>
                  <a:pt x="382860" y="1953624"/>
                  <a:pt x="381530" y="1902685"/>
                </a:cubicBezTo>
                <a:lnTo>
                  <a:pt x="380147" y="1849805"/>
                </a:lnTo>
                <a:lnTo>
                  <a:pt x="283259" y="1849805"/>
                </a:lnTo>
                <a:cubicBezTo>
                  <a:pt x="196391" y="1849805"/>
                  <a:pt x="184072" y="1850741"/>
                  <a:pt x="164131" y="1858677"/>
                </a:cubicBezTo>
                <a:cubicBezTo>
                  <a:pt x="133968" y="1870701"/>
                  <a:pt x="110159" y="1893537"/>
                  <a:pt x="96177" y="1923858"/>
                </a:cubicBezTo>
                <a:lnTo>
                  <a:pt x="84528" y="1949154"/>
                </a:lnTo>
                <a:lnTo>
                  <a:pt x="83233" y="2060631"/>
                </a:lnTo>
                <a:lnTo>
                  <a:pt x="81939" y="2172108"/>
                </a:lnTo>
                <a:lnTo>
                  <a:pt x="422281" y="2172108"/>
                </a:lnTo>
                <a:lnTo>
                  <a:pt x="762627" y="2172108"/>
                </a:lnTo>
                <a:close/>
                <a:moveTo>
                  <a:pt x="454743" y="1754684"/>
                </a:moveTo>
                <a:cubicBezTo>
                  <a:pt x="509054" y="1737497"/>
                  <a:pt x="539430" y="1677999"/>
                  <a:pt x="532316" y="1602699"/>
                </a:cubicBezTo>
                <a:cubicBezTo>
                  <a:pt x="525552" y="1531107"/>
                  <a:pt x="484038" y="1487757"/>
                  <a:pt x="422281" y="1487757"/>
                </a:cubicBezTo>
                <a:cubicBezTo>
                  <a:pt x="360527" y="1487757"/>
                  <a:pt x="319013" y="1531107"/>
                  <a:pt x="312249" y="1602699"/>
                </a:cubicBezTo>
                <a:cubicBezTo>
                  <a:pt x="305287" y="1676370"/>
                  <a:pt x="333373" y="1733823"/>
                  <a:pt x="385795" y="1753125"/>
                </a:cubicBezTo>
                <a:cubicBezTo>
                  <a:pt x="412928" y="1763105"/>
                  <a:pt x="427115" y="1763417"/>
                  <a:pt x="454743" y="1754684"/>
                </a:cubicBezTo>
                <a:close/>
                <a:moveTo>
                  <a:pt x="1302931" y="2256279"/>
                </a:moveTo>
                <a:cubicBezTo>
                  <a:pt x="1298371" y="2254269"/>
                  <a:pt x="1290913" y="2248205"/>
                  <a:pt x="1286353" y="2242833"/>
                </a:cubicBezTo>
                <a:cubicBezTo>
                  <a:pt x="1278501" y="2233512"/>
                  <a:pt x="1278002" y="2225819"/>
                  <a:pt x="1276858" y="2096322"/>
                </a:cubicBezTo>
                <a:cubicBezTo>
                  <a:pt x="1275860" y="1983182"/>
                  <a:pt x="1276779" y="1954941"/>
                  <a:pt x="1282188" y="1932417"/>
                </a:cubicBezTo>
                <a:cubicBezTo>
                  <a:pt x="1292397" y="1889968"/>
                  <a:pt x="1308915" y="1859092"/>
                  <a:pt x="1338158" y="1827836"/>
                </a:cubicBezTo>
                <a:cubicBezTo>
                  <a:pt x="1381987" y="1780951"/>
                  <a:pt x="1429429" y="1761511"/>
                  <a:pt x="1499840" y="1761511"/>
                </a:cubicBezTo>
                <a:lnTo>
                  <a:pt x="1539596" y="1761511"/>
                </a:lnTo>
                <a:lnTo>
                  <a:pt x="1526131" y="1731710"/>
                </a:lnTo>
                <a:cubicBezTo>
                  <a:pt x="1503756" y="1682192"/>
                  <a:pt x="1499046" y="1607065"/>
                  <a:pt x="1514553" y="1546978"/>
                </a:cubicBezTo>
                <a:cubicBezTo>
                  <a:pt x="1536575" y="1461594"/>
                  <a:pt x="1614165" y="1399462"/>
                  <a:pt x="1698703" y="1399462"/>
                </a:cubicBezTo>
                <a:cubicBezTo>
                  <a:pt x="1783245" y="1399462"/>
                  <a:pt x="1860831" y="1461594"/>
                  <a:pt x="1882856" y="1546978"/>
                </a:cubicBezTo>
                <a:cubicBezTo>
                  <a:pt x="1898360" y="1607065"/>
                  <a:pt x="1893654" y="1682192"/>
                  <a:pt x="1871279" y="1731710"/>
                </a:cubicBezTo>
                <a:lnTo>
                  <a:pt x="1857813" y="1761511"/>
                </a:lnTo>
                <a:lnTo>
                  <a:pt x="1897570" y="1761511"/>
                </a:lnTo>
                <a:cubicBezTo>
                  <a:pt x="1967980" y="1761511"/>
                  <a:pt x="2015423" y="1780951"/>
                  <a:pt x="2059251" y="1827836"/>
                </a:cubicBezTo>
                <a:cubicBezTo>
                  <a:pt x="2088491" y="1859092"/>
                  <a:pt x="2105013" y="1889968"/>
                  <a:pt x="2115222" y="1932417"/>
                </a:cubicBezTo>
                <a:cubicBezTo>
                  <a:pt x="2120631" y="1954941"/>
                  <a:pt x="2121549" y="1983217"/>
                  <a:pt x="2120551" y="2096669"/>
                </a:cubicBezTo>
                <a:lnTo>
                  <a:pt x="2119345" y="2233720"/>
                </a:lnTo>
                <a:lnTo>
                  <a:pt x="2107855" y="2245986"/>
                </a:lnTo>
                <a:lnTo>
                  <a:pt x="2096364" y="2258219"/>
                </a:lnTo>
                <a:lnTo>
                  <a:pt x="1703790" y="2259051"/>
                </a:lnTo>
                <a:cubicBezTo>
                  <a:pt x="1487878" y="2259536"/>
                  <a:pt x="1307491" y="2258288"/>
                  <a:pt x="1302931" y="2256279"/>
                </a:cubicBezTo>
                <a:close/>
                <a:moveTo>
                  <a:pt x="2037753" y="2060631"/>
                </a:moveTo>
                <a:lnTo>
                  <a:pt x="2036460" y="1949154"/>
                </a:lnTo>
                <a:lnTo>
                  <a:pt x="2024810" y="1923858"/>
                </a:lnTo>
                <a:cubicBezTo>
                  <a:pt x="2010828" y="1893537"/>
                  <a:pt x="1987018" y="1870701"/>
                  <a:pt x="1956857" y="1858677"/>
                </a:cubicBezTo>
                <a:cubicBezTo>
                  <a:pt x="1936914" y="1850706"/>
                  <a:pt x="1924595" y="1849805"/>
                  <a:pt x="1837729" y="1849805"/>
                </a:cubicBezTo>
                <a:lnTo>
                  <a:pt x="1740841" y="1849805"/>
                </a:lnTo>
                <a:lnTo>
                  <a:pt x="1739458" y="1902685"/>
                </a:lnTo>
                <a:cubicBezTo>
                  <a:pt x="1738127" y="1953624"/>
                  <a:pt x="1737649" y="1956050"/>
                  <a:pt x="1726678" y="1967727"/>
                </a:cubicBezTo>
                <a:cubicBezTo>
                  <a:pt x="1710776" y="1984638"/>
                  <a:pt x="1686634" y="1984638"/>
                  <a:pt x="1670732" y="1967727"/>
                </a:cubicBezTo>
                <a:cubicBezTo>
                  <a:pt x="1659761" y="1956050"/>
                  <a:pt x="1659283" y="1953624"/>
                  <a:pt x="1657952" y="1902685"/>
                </a:cubicBezTo>
                <a:lnTo>
                  <a:pt x="1656569" y="1849805"/>
                </a:lnTo>
                <a:lnTo>
                  <a:pt x="1559681" y="1849805"/>
                </a:lnTo>
                <a:cubicBezTo>
                  <a:pt x="1472814" y="1849805"/>
                  <a:pt x="1460495" y="1850741"/>
                  <a:pt x="1440553" y="1858677"/>
                </a:cubicBezTo>
                <a:cubicBezTo>
                  <a:pt x="1410391" y="1870701"/>
                  <a:pt x="1386582" y="1893537"/>
                  <a:pt x="1372600" y="1923858"/>
                </a:cubicBezTo>
                <a:lnTo>
                  <a:pt x="1360949" y="1949154"/>
                </a:lnTo>
                <a:lnTo>
                  <a:pt x="1359657" y="2060631"/>
                </a:lnTo>
                <a:lnTo>
                  <a:pt x="1358361" y="2172108"/>
                </a:lnTo>
                <a:lnTo>
                  <a:pt x="1698703" y="2172108"/>
                </a:lnTo>
                <a:lnTo>
                  <a:pt x="2039049" y="2172108"/>
                </a:lnTo>
                <a:close/>
                <a:moveTo>
                  <a:pt x="1731166" y="1754684"/>
                </a:moveTo>
                <a:cubicBezTo>
                  <a:pt x="1785476" y="1737497"/>
                  <a:pt x="1815853" y="1677999"/>
                  <a:pt x="1808738" y="1602699"/>
                </a:cubicBezTo>
                <a:cubicBezTo>
                  <a:pt x="1801974" y="1531107"/>
                  <a:pt x="1760461" y="1487757"/>
                  <a:pt x="1698703" y="1487757"/>
                </a:cubicBezTo>
                <a:cubicBezTo>
                  <a:pt x="1636949" y="1487757"/>
                  <a:pt x="1595435" y="1531107"/>
                  <a:pt x="1588671" y="1602699"/>
                </a:cubicBezTo>
                <a:cubicBezTo>
                  <a:pt x="1581710" y="1676370"/>
                  <a:pt x="1609795" y="1733823"/>
                  <a:pt x="1662218" y="1753125"/>
                </a:cubicBezTo>
                <a:cubicBezTo>
                  <a:pt x="1689350" y="1763105"/>
                  <a:pt x="1703537" y="1763417"/>
                  <a:pt x="1731166" y="1754684"/>
                </a:cubicBezTo>
                <a:close/>
                <a:moveTo>
                  <a:pt x="813912" y="1791936"/>
                </a:moveTo>
                <a:cubicBezTo>
                  <a:pt x="799185" y="1782891"/>
                  <a:pt x="791305" y="1768615"/>
                  <a:pt x="791211" y="1750803"/>
                </a:cubicBezTo>
                <a:cubicBezTo>
                  <a:pt x="791121" y="1733963"/>
                  <a:pt x="794434" y="1729908"/>
                  <a:pt x="905086" y="1611535"/>
                </a:cubicBezTo>
                <a:lnTo>
                  <a:pt x="1019051" y="1489628"/>
                </a:lnTo>
                <a:lnTo>
                  <a:pt x="1019051" y="1393537"/>
                </a:lnTo>
                <a:cubicBezTo>
                  <a:pt x="1019051" y="1291832"/>
                  <a:pt x="1021376" y="1277486"/>
                  <a:pt x="1039541" y="1267125"/>
                </a:cubicBezTo>
                <a:cubicBezTo>
                  <a:pt x="1049781" y="1261303"/>
                  <a:pt x="1071207" y="1261303"/>
                  <a:pt x="1081443" y="1267125"/>
                </a:cubicBezTo>
                <a:cubicBezTo>
                  <a:pt x="1099611" y="1277486"/>
                  <a:pt x="1101936" y="1291832"/>
                  <a:pt x="1101936" y="1393537"/>
                </a:cubicBezTo>
                <a:lnTo>
                  <a:pt x="1101936" y="1489628"/>
                </a:lnTo>
                <a:lnTo>
                  <a:pt x="1215901" y="1611535"/>
                </a:lnTo>
                <a:cubicBezTo>
                  <a:pt x="1324055" y="1727240"/>
                  <a:pt x="1329870" y="1734309"/>
                  <a:pt x="1329870" y="1749833"/>
                </a:cubicBezTo>
                <a:cubicBezTo>
                  <a:pt x="1329870" y="1779599"/>
                  <a:pt x="1306393" y="1801326"/>
                  <a:pt x="1281256" y="1794881"/>
                </a:cubicBezTo>
                <a:cubicBezTo>
                  <a:pt x="1273750" y="1792941"/>
                  <a:pt x="1233550" y="1753402"/>
                  <a:pt x="1165135" y="1680702"/>
                </a:cubicBezTo>
                <a:lnTo>
                  <a:pt x="1060492" y="1569502"/>
                </a:lnTo>
                <a:lnTo>
                  <a:pt x="955707" y="1681083"/>
                </a:lnTo>
                <a:cubicBezTo>
                  <a:pt x="866681" y="1775857"/>
                  <a:pt x="848759" y="1792975"/>
                  <a:pt x="836558" y="1794812"/>
                </a:cubicBezTo>
                <a:cubicBezTo>
                  <a:pt x="828660" y="1796025"/>
                  <a:pt x="818469" y="1794708"/>
                  <a:pt x="813912" y="1791936"/>
                </a:cubicBezTo>
                <a:close/>
                <a:moveTo>
                  <a:pt x="572721" y="1165628"/>
                </a:moveTo>
                <a:cubicBezTo>
                  <a:pt x="551302" y="1151732"/>
                  <a:pt x="549487" y="1136520"/>
                  <a:pt x="551909" y="991049"/>
                </a:cubicBezTo>
                <a:cubicBezTo>
                  <a:pt x="553738" y="881097"/>
                  <a:pt x="555232" y="858261"/>
                  <a:pt x="562467" y="829291"/>
                </a:cubicBezTo>
                <a:cubicBezTo>
                  <a:pt x="585213" y="738294"/>
                  <a:pt x="645668" y="658697"/>
                  <a:pt x="722738" y="618223"/>
                </a:cubicBezTo>
                <a:cubicBezTo>
                  <a:pt x="761684" y="597778"/>
                  <a:pt x="793693" y="588422"/>
                  <a:pt x="840435" y="583813"/>
                </a:cubicBezTo>
                <a:lnTo>
                  <a:pt x="874384" y="580452"/>
                </a:lnTo>
                <a:lnTo>
                  <a:pt x="863500" y="564997"/>
                </a:lnTo>
                <a:cubicBezTo>
                  <a:pt x="847082" y="541680"/>
                  <a:pt x="829066" y="501843"/>
                  <a:pt x="822156" y="473584"/>
                </a:cubicBezTo>
                <a:cubicBezTo>
                  <a:pt x="813063" y="436392"/>
                  <a:pt x="813351" y="234960"/>
                  <a:pt x="822555" y="196964"/>
                </a:cubicBezTo>
                <a:cubicBezTo>
                  <a:pt x="849906" y="84011"/>
                  <a:pt x="951392" y="7"/>
                  <a:pt x="1060492" y="7"/>
                </a:cubicBezTo>
                <a:cubicBezTo>
                  <a:pt x="1169595" y="7"/>
                  <a:pt x="1271082" y="84011"/>
                  <a:pt x="1298433" y="196964"/>
                </a:cubicBezTo>
                <a:cubicBezTo>
                  <a:pt x="1307633" y="234960"/>
                  <a:pt x="1307924" y="436392"/>
                  <a:pt x="1298831" y="473584"/>
                </a:cubicBezTo>
                <a:cubicBezTo>
                  <a:pt x="1291922" y="501843"/>
                  <a:pt x="1273906" y="541680"/>
                  <a:pt x="1257488" y="564997"/>
                </a:cubicBezTo>
                <a:lnTo>
                  <a:pt x="1246603" y="580452"/>
                </a:lnTo>
                <a:lnTo>
                  <a:pt x="1280552" y="583813"/>
                </a:lnTo>
                <a:cubicBezTo>
                  <a:pt x="1327295" y="588422"/>
                  <a:pt x="1359303" y="597778"/>
                  <a:pt x="1398249" y="618223"/>
                </a:cubicBezTo>
                <a:cubicBezTo>
                  <a:pt x="1475316" y="658697"/>
                  <a:pt x="1535774" y="738294"/>
                  <a:pt x="1558520" y="829291"/>
                </a:cubicBezTo>
                <a:cubicBezTo>
                  <a:pt x="1565756" y="858261"/>
                  <a:pt x="1567249" y="881097"/>
                  <a:pt x="1569079" y="991049"/>
                </a:cubicBezTo>
                <a:cubicBezTo>
                  <a:pt x="1571501" y="1136520"/>
                  <a:pt x="1569685" y="1151732"/>
                  <a:pt x="1548267" y="1165628"/>
                </a:cubicBezTo>
                <a:cubicBezTo>
                  <a:pt x="1535324" y="1174048"/>
                  <a:pt x="1523712" y="1174256"/>
                  <a:pt x="1060492" y="1174256"/>
                </a:cubicBezTo>
                <a:cubicBezTo>
                  <a:pt x="597276" y="1174256"/>
                  <a:pt x="585664" y="1174048"/>
                  <a:pt x="572721" y="1165628"/>
                </a:cubicBezTo>
                <a:close/>
                <a:moveTo>
                  <a:pt x="1486336" y="976703"/>
                </a:moveTo>
                <a:cubicBezTo>
                  <a:pt x="1484561" y="880785"/>
                  <a:pt x="1483227" y="863840"/>
                  <a:pt x="1475431" y="838058"/>
                </a:cubicBezTo>
                <a:cubicBezTo>
                  <a:pt x="1458382" y="781713"/>
                  <a:pt x="1411923" y="723740"/>
                  <a:pt x="1362464" y="697162"/>
                </a:cubicBezTo>
                <a:cubicBezTo>
                  <a:pt x="1321279" y="674984"/>
                  <a:pt x="1296174" y="671103"/>
                  <a:pt x="1194493" y="671034"/>
                </a:cubicBezTo>
                <a:lnTo>
                  <a:pt x="1102629" y="670964"/>
                </a:lnTo>
                <a:lnTo>
                  <a:pt x="1101247" y="723844"/>
                </a:lnTo>
                <a:cubicBezTo>
                  <a:pt x="1099916" y="774748"/>
                  <a:pt x="1099438" y="777209"/>
                  <a:pt x="1088467" y="788886"/>
                </a:cubicBezTo>
                <a:cubicBezTo>
                  <a:pt x="1072565" y="805797"/>
                  <a:pt x="1048423" y="805797"/>
                  <a:pt x="1032521" y="788886"/>
                </a:cubicBezTo>
                <a:cubicBezTo>
                  <a:pt x="1021550" y="777209"/>
                  <a:pt x="1021071" y="774748"/>
                  <a:pt x="1019741" y="723844"/>
                </a:cubicBezTo>
                <a:lnTo>
                  <a:pt x="1018358" y="670964"/>
                </a:lnTo>
                <a:lnTo>
                  <a:pt x="926495" y="671034"/>
                </a:lnTo>
                <a:cubicBezTo>
                  <a:pt x="824814" y="671103"/>
                  <a:pt x="799705" y="674984"/>
                  <a:pt x="758524" y="697162"/>
                </a:cubicBezTo>
                <a:cubicBezTo>
                  <a:pt x="709064" y="723740"/>
                  <a:pt x="662606" y="781713"/>
                  <a:pt x="645553" y="838058"/>
                </a:cubicBezTo>
                <a:cubicBezTo>
                  <a:pt x="637760" y="863840"/>
                  <a:pt x="636426" y="880785"/>
                  <a:pt x="634652" y="976703"/>
                </a:cubicBezTo>
                <a:lnTo>
                  <a:pt x="632632" y="1085997"/>
                </a:lnTo>
                <a:lnTo>
                  <a:pt x="1060492" y="1085997"/>
                </a:lnTo>
                <a:lnTo>
                  <a:pt x="1488356" y="1085997"/>
                </a:lnTo>
                <a:close/>
                <a:moveTo>
                  <a:pt x="1033536" y="960520"/>
                </a:moveTo>
                <a:cubicBezTo>
                  <a:pt x="1020468" y="946624"/>
                  <a:pt x="1016868" y="930061"/>
                  <a:pt x="1023296" y="913531"/>
                </a:cubicBezTo>
                <a:cubicBezTo>
                  <a:pt x="1030126" y="895963"/>
                  <a:pt x="1042410" y="887299"/>
                  <a:pt x="1060492" y="887299"/>
                </a:cubicBezTo>
                <a:cubicBezTo>
                  <a:pt x="1078577" y="887299"/>
                  <a:pt x="1090858" y="895963"/>
                  <a:pt x="1097691" y="913531"/>
                </a:cubicBezTo>
                <a:cubicBezTo>
                  <a:pt x="1108590" y="941565"/>
                  <a:pt x="1089479" y="971193"/>
                  <a:pt x="1060492" y="971193"/>
                </a:cubicBezTo>
                <a:cubicBezTo>
                  <a:pt x="1048097" y="971193"/>
                  <a:pt x="1040851" y="968317"/>
                  <a:pt x="1033536" y="960520"/>
                </a:cubicBezTo>
                <a:close/>
                <a:moveTo>
                  <a:pt x="1099864" y="576640"/>
                </a:moveTo>
                <a:cubicBezTo>
                  <a:pt x="1131107" y="567769"/>
                  <a:pt x="1155131" y="553084"/>
                  <a:pt x="1176193" y="530016"/>
                </a:cubicBezTo>
                <a:cubicBezTo>
                  <a:pt x="1211130" y="491756"/>
                  <a:pt x="1225971" y="444431"/>
                  <a:pt x="1226179" y="370590"/>
                </a:cubicBezTo>
                <a:lnTo>
                  <a:pt x="1226262" y="341752"/>
                </a:lnTo>
                <a:lnTo>
                  <a:pt x="1187930" y="317814"/>
                </a:lnTo>
                <a:cubicBezTo>
                  <a:pt x="1166847" y="304647"/>
                  <a:pt x="1146797" y="292140"/>
                  <a:pt x="1143381" y="290027"/>
                </a:cubicBezTo>
                <a:cubicBezTo>
                  <a:pt x="1138952" y="287286"/>
                  <a:pt x="1127617" y="292986"/>
                  <a:pt x="1104009" y="309830"/>
                </a:cubicBezTo>
                <a:cubicBezTo>
                  <a:pt x="1055748" y="344265"/>
                  <a:pt x="1025604" y="353805"/>
                  <a:pt x="954816" y="357038"/>
                </a:cubicBezTo>
                <a:lnTo>
                  <a:pt x="896797" y="359689"/>
                </a:lnTo>
                <a:lnTo>
                  <a:pt x="895449" y="374769"/>
                </a:lnTo>
                <a:cubicBezTo>
                  <a:pt x="892892" y="403323"/>
                  <a:pt x="902720" y="460437"/>
                  <a:pt x="914453" y="485231"/>
                </a:cubicBezTo>
                <a:cubicBezTo>
                  <a:pt x="949095" y="558431"/>
                  <a:pt x="1027704" y="597189"/>
                  <a:pt x="1099864" y="576640"/>
                </a:cubicBezTo>
                <a:close/>
                <a:moveTo>
                  <a:pt x="977382" y="269055"/>
                </a:moveTo>
                <a:cubicBezTo>
                  <a:pt x="1018185" y="263414"/>
                  <a:pt x="1052404" y="245786"/>
                  <a:pt x="1085043" y="213590"/>
                </a:cubicBezTo>
                <a:cubicBezTo>
                  <a:pt x="1120313" y="178803"/>
                  <a:pt x="1130826" y="178584"/>
                  <a:pt x="1181817" y="211574"/>
                </a:cubicBezTo>
                <a:cubicBezTo>
                  <a:pt x="1201822" y="224513"/>
                  <a:pt x="1219166" y="234059"/>
                  <a:pt x="1220361" y="232788"/>
                </a:cubicBezTo>
                <a:cubicBezTo>
                  <a:pt x="1224253" y="228637"/>
                  <a:pt x="1206722" y="182088"/>
                  <a:pt x="1193630" y="161816"/>
                </a:cubicBezTo>
                <a:cubicBezTo>
                  <a:pt x="1159376" y="108774"/>
                  <a:pt x="1095893" y="80650"/>
                  <a:pt x="1035379" y="91704"/>
                </a:cubicBezTo>
                <a:cubicBezTo>
                  <a:pt x="958565" y="105738"/>
                  <a:pt x="907190" y="164831"/>
                  <a:pt x="897650" y="250135"/>
                </a:cubicBezTo>
                <a:cubicBezTo>
                  <a:pt x="896513" y="260302"/>
                  <a:pt x="896635" y="269738"/>
                  <a:pt x="897917" y="271106"/>
                </a:cubicBezTo>
                <a:cubicBezTo>
                  <a:pt x="901475" y="274894"/>
                  <a:pt x="942868" y="273827"/>
                  <a:pt x="977382" y="269055"/>
                </a:cubicBezTo>
                <a:close/>
              </a:path>
            </a:pathLst>
          </a:custGeom>
          <a:solidFill>
            <a:schemeClr val="bg1"/>
          </a:solidFill>
          <a:ln w="4275" cap="flat">
            <a:noFill/>
            <a:prstDash val="solid"/>
            <a:miter/>
          </a:ln>
        </p:spPr>
        <p:txBody>
          <a:bodyPr rtlCol="0" anchor="ctr"/>
          <a:lstStyle/>
          <a:p>
            <a:endParaRPr lang="en-IN"/>
          </a:p>
        </p:txBody>
      </p:sp>
      <p:sp>
        <p:nvSpPr>
          <p:cNvPr id="107" name="Freeform: Shape 106">
            <a:extLst>
              <a:ext uri="{FF2B5EF4-FFF2-40B4-BE49-F238E27FC236}">
                <a16:creationId xmlns:a16="http://schemas.microsoft.com/office/drawing/2014/main" id="{D29B9DFA-B5C2-45D6-96C7-1A40603DE0BD}"/>
              </a:ext>
            </a:extLst>
          </p:cNvPr>
          <p:cNvSpPr/>
          <p:nvPr/>
        </p:nvSpPr>
        <p:spPr>
          <a:xfrm>
            <a:off x="6848538" y="1813063"/>
            <a:ext cx="365760" cy="365760"/>
          </a:xfrm>
          <a:custGeom>
            <a:avLst/>
            <a:gdLst>
              <a:gd name="connsiteX0" fmla="*/ 2223303 w 2743748"/>
              <a:gd name="connsiteY0" fmla="*/ 2681035 h 2688716"/>
              <a:gd name="connsiteX1" fmla="*/ 2110163 w 2743748"/>
              <a:gd name="connsiteY1" fmla="*/ 2434899 h 2688716"/>
              <a:gd name="connsiteX2" fmla="*/ 2201126 w 2743748"/>
              <a:gd name="connsiteY2" fmla="*/ 2348060 h 2688716"/>
              <a:gd name="connsiteX3" fmla="*/ 2219942 w 2743748"/>
              <a:gd name="connsiteY3" fmla="*/ 2341995 h 2688716"/>
              <a:gd name="connsiteX4" fmla="*/ 2219942 w 2743748"/>
              <a:gd name="connsiteY4" fmla="*/ 2032341 h 2688716"/>
              <a:gd name="connsiteX5" fmla="*/ 2219942 w 2743748"/>
              <a:gd name="connsiteY5" fmla="*/ 1722722 h 2688716"/>
              <a:gd name="connsiteX6" fmla="*/ 2059536 w 2743748"/>
              <a:gd name="connsiteY6" fmla="*/ 1722722 h 2688716"/>
              <a:gd name="connsiteX7" fmla="*/ 1899130 w 2743748"/>
              <a:gd name="connsiteY7" fmla="*/ 1722722 h 2688716"/>
              <a:gd name="connsiteX8" fmla="*/ 1897293 w 2743748"/>
              <a:gd name="connsiteY8" fmla="*/ 1775151 h 2688716"/>
              <a:gd name="connsiteX9" fmla="*/ 1880591 w 2743748"/>
              <a:gd name="connsiteY9" fmla="*/ 1842169 h 2688716"/>
              <a:gd name="connsiteX10" fmla="*/ 1865725 w 2743748"/>
              <a:gd name="connsiteY10" fmla="*/ 1856723 h 2688716"/>
              <a:gd name="connsiteX11" fmla="*/ 1645924 w 2743748"/>
              <a:gd name="connsiteY11" fmla="*/ 1858213 h 2688716"/>
              <a:gd name="connsiteX12" fmla="*/ 1426159 w 2743748"/>
              <a:gd name="connsiteY12" fmla="*/ 1859668 h 2688716"/>
              <a:gd name="connsiteX13" fmla="*/ 1426159 w 2743748"/>
              <a:gd name="connsiteY13" fmla="*/ 2021148 h 2688716"/>
              <a:gd name="connsiteX14" fmla="*/ 1426159 w 2743748"/>
              <a:gd name="connsiteY14" fmla="*/ 2182594 h 2688716"/>
              <a:gd name="connsiteX15" fmla="*/ 1452460 w 2743748"/>
              <a:gd name="connsiteY15" fmla="*/ 2194411 h 2688716"/>
              <a:gd name="connsiteX16" fmla="*/ 1544012 w 2743748"/>
              <a:gd name="connsiteY16" fmla="*/ 2298992 h 2688716"/>
              <a:gd name="connsiteX17" fmla="*/ 1547304 w 2743748"/>
              <a:gd name="connsiteY17" fmla="*/ 2399172 h 2688716"/>
              <a:gd name="connsiteX18" fmla="*/ 1493766 w 2743748"/>
              <a:gd name="connsiteY18" fmla="*/ 2483620 h 2688716"/>
              <a:gd name="connsiteX19" fmla="*/ 1405818 w 2743748"/>
              <a:gd name="connsiteY19" fmla="*/ 2527351 h 2688716"/>
              <a:gd name="connsiteX20" fmla="*/ 1290321 w 2743748"/>
              <a:gd name="connsiteY20" fmla="*/ 2512728 h 2688716"/>
              <a:gd name="connsiteX21" fmla="*/ 1216477 w 2743748"/>
              <a:gd name="connsiteY21" fmla="*/ 2444497 h 2688716"/>
              <a:gd name="connsiteX22" fmla="*/ 1239070 w 2743748"/>
              <a:gd name="connsiteY22" fmla="*/ 2235404 h 2688716"/>
              <a:gd name="connsiteX23" fmla="*/ 1292574 w 2743748"/>
              <a:gd name="connsiteY23" fmla="*/ 2194411 h 2688716"/>
              <a:gd name="connsiteX24" fmla="*/ 1318875 w 2743748"/>
              <a:gd name="connsiteY24" fmla="*/ 2182594 h 2688716"/>
              <a:gd name="connsiteX25" fmla="*/ 1318875 w 2743748"/>
              <a:gd name="connsiteY25" fmla="*/ 2020975 h 2688716"/>
              <a:gd name="connsiteX26" fmla="*/ 1318875 w 2743748"/>
              <a:gd name="connsiteY26" fmla="*/ 1859356 h 2688716"/>
              <a:gd name="connsiteX27" fmla="*/ 1206428 w 2743748"/>
              <a:gd name="connsiteY27" fmla="*/ 1859356 h 2688716"/>
              <a:gd name="connsiteX28" fmla="*/ 1093981 w 2743748"/>
              <a:gd name="connsiteY28" fmla="*/ 1859356 h 2688716"/>
              <a:gd name="connsiteX29" fmla="*/ 1092456 w 2743748"/>
              <a:gd name="connsiteY29" fmla="*/ 2053653 h 2688716"/>
              <a:gd name="connsiteX30" fmla="*/ 1090931 w 2743748"/>
              <a:gd name="connsiteY30" fmla="*/ 2247984 h 2688716"/>
              <a:gd name="connsiteX31" fmla="*/ 1076065 w 2743748"/>
              <a:gd name="connsiteY31" fmla="*/ 2262537 h 2688716"/>
              <a:gd name="connsiteX32" fmla="*/ 1061199 w 2743748"/>
              <a:gd name="connsiteY32" fmla="*/ 2277126 h 2688716"/>
              <a:gd name="connsiteX33" fmla="*/ 862987 w 2743748"/>
              <a:gd name="connsiteY33" fmla="*/ 2277126 h 2688716"/>
              <a:gd name="connsiteX34" fmla="*/ 664776 w 2743748"/>
              <a:gd name="connsiteY34" fmla="*/ 2277126 h 2688716"/>
              <a:gd name="connsiteX35" fmla="*/ 650048 w 2743748"/>
              <a:gd name="connsiteY35" fmla="*/ 2262676 h 2688716"/>
              <a:gd name="connsiteX36" fmla="*/ 650048 w 2743748"/>
              <a:gd name="connsiteY36" fmla="*/ 2191708 h 2688716"/>
              <a:gd name="connsiteX37" fmla="*/ 664776 w 2743748"/>
              <a:gd name="connsiteY37" fmla="*/ 2177258 h 2688716"/>
              <a:gd name="connsiteX38" fmla="*/ 825563 w 2743748"/>
              <a:gd name="connsiteY38" fmla="*/ 2175733 h 2688716"/>
              <a:gd name="connsiteX39" fmla="*/ 986350 w 2743748"/>
              <a:gd name="connsiteY39" fmla="*/ 2174208 h 2688716"/>
              <a:gd name="connsiteX40" fmla="*/ 986350 w 2743748"/>
              <a:gd name="connsiteY40" fmla="*/ 2017267 h 2688716"/>
              <a:gd name="connsiteX41" fmla="*/ 986350 w 2743748"/>
              <a:gd name="connsiteY41" fmla="*/ 1860326 h 2688716"/>
              <a:gd name="connsiteX42" fmla="*/ 932847 w 2743748"/>
              <a:gd name="connsiteY42" fmla="*/ 1858525 h 2688716"/>
              <a:gd name="connsiteX43" fmla="*/ 864443 w 2743748"/>
              <a:gd name="connsiteY43" fmla="*/ 1842134 h 2688716"/>
              <a:gd name="connsiteX44" fmla="*/ 849577 w 2743748"/>
              <a:gd name="connsiteY44" fmla="*/ 1827580 h 2688716"/>
              <a:gd name="connsiteX45" fmla="*/ 848087 w 2743748"/>
              <a:gd name="connsiteY45" fmla="*/ 1612250 h 2688716"/>
              <a:gd name="connsiteX46" fmla="*/ 846562 w 2743748"/>
              <a:gd name="connsiteY46" fmla="*/ 1396885 h 2688716"/>
              <a:gd name="connsiteX47" fmla="*/ 681790 w 2743748"/>
              <a:gd name="connsiteY47" fmla="*/ 1396885 h 2688716"/>
              <a:gd name="connsiteX48" fmla="*/ 516983 w 2743748"/>
              <a:gd name="connsiteY48" fmla="*/ 1396885 h 2688716"/>
              <a:gd name="connsiteX49" fmla="*/ 504924 w 2743748"/>
              <a:gd name="connsiteY49" fmla="*/ 1422667 h 2688716"/>
              <a:gd name="connsiteX50" fmla="*/ 398194 w 2743748"/>
              <a:gd name="connsiteY50" fmla="*/ 1512381 h 2688716"/>
              <a:gd name="connsiteX51" fmla="*/ 295946 w 2743748"/>
              <a:gd name="connsiteY51" fmla="*/ 1515570 h 2688716"/>
              <a:gd name="connsiteX52" fmla="*/ 209758 w 2743748"/>
              <a:gd name="connsiteY52" fmla="*/ 1463141 h 2688716"/>
              <a:gd name="connsiteX53" fmla="*/ 165115 w 2743748"/>
              <a:gd name="connsiteY53" fmla="*/ 1376960 h 2688716"/>
              <a:gd name="connsiteX54" fmla="*/ 180051 w 2743748"/>
              <a:gd name="connsiteY54" fmla="*/ 1263820 h 2688716"/>
              <a:gd name="connsiteX55" fmla="*/ 249667 w 2743748"/>
              <a:gd name="connsiteY55" fmla="*/ 1191466 h 2688716"/>
              <a:gd name="connsiteX56" fmla="*/ 463098 w 2743748"/>
              <a:gd name="connsiteY56" fmla="*/ 1213573 h 2688716"/>
              <a:gd name="connsiteX57" fmla="*/ 504924 w 2743748"/>
              <a:gd name="connsiteY57" fmla="*/ 1266002 h 2688716"/>
              <a:gd name="connsiteX58" fmla="*/ 516983 w 2743748"/>
              <a:gd name="connsiteY58" fmla="*/ 1291784 h 2688716"/>
              <a:gd name="connsiteX59" fmla="*/ 681929 w 2743748"/>
              <a:gd name="connsiteY59" fmla="*/ 1291784 h 2688716"/>
              <a:gd name="connsiteX60" fmla="*/ 846909 w 2743748"/>
              <a:gd name="connsiteY60" fmla="*/ 1291784 h 2688716"/>
              <a:gd name="connsiteX61" fmla="*/ 846909 w 2743748"/>
              <a:gd name="connsiteY61" fmla="*/ 1181624 h 2688716"/>
              <a:gd name="connsiteX62" fmla="*/ 846909 w 2743748"/>
              <a:gd name="connsiteY62" fmla="*/ 1071464 h 2688716"/>
              <a:gd name="connsiteX63" fmla="*/ 648558 w 2743748"/>
              <a:gd name="connsiteY63" fmla="*/ 1069939 h 2688716"/>
              <a:gd name="connsiteX64" fmla="*/ 450242 w 2743748"/>
              <a:gd name="connsiteY64" fmla="*/ 1068449 h 2688716"/>
              <a:gd name="connsiteX65" fmla="*/ 435377 w 2743748"/>
              <a:gd name="connsiteY65" fmla="*/ 1053895 h 2688716"/>
              <a:gd name="connsiteX66" fmla="*/ 420511 w 2743748"/>
              <a:gd name="connsiteY66" fmla="*/ 1039307 h 2688716"/>
              <a:gd name="connsiteX67" fmla="*/ 419055 w 2743748"/>
              <a:gd name="connsiteY67" fmla="*/ 692956 h 2688716"/>
              <a:gd name="connsiteX68" fmla="*/ 417600 w 2743748"/>
              <a:gd name="connsiteY68" fmla="*/ 346639 h 2688716"/>
              <a:gd name="connsiteX69" fmla="*/ 398922 w 2743748"/>
              <a:gd name="connsiteY69" fmla="*/ 340575 h 2688716"/>
              <a:gd name="connsiteX70" fmla="*/ 350987 w 2743748"/>
              <a:gd name="connsiteY70" fmla="*/ 308348 h 2688716"/>
              <a:gd name="connsiteX71" fmla="*/ 441129 w 2743748"/>
              <a:gd name="connsiteY71" fmla="*/ 3095 h 2688716"/>
              <a:gd name="connsiteX72" fmla="*/ 594085 w 2743748"/>
              <a:gd name="connsiteY72" fmla="*/ 48108 h 2688716"/>
              <a:gd name="connsiteX73" fmla="*/ 634871 w 2743748"/>
              <a:gd name="connsiteY73" fmla="*/ 253805 h 2688716"/>
              <a:gd name="connsiteX74" fmla="*/ 543908 w 2743748"/>
              <a:gd name="connsiteY74" fmla="*/ 340610 h 2688716"/>
              <a:gd name="connsiteX75" fmla="*/ 525092 w 2743748"/>
              <a:gd name="connsiteY75" fmla="*/ 346708 h 2688716"/>
              <a:gd name="connsiteX76" fmla="*/ 525092 w 2743748"/>
              <a:gd name="connsiteY76" fmla="*/ 656328 h 2688716"/>
              <a:gd name="connsiteX77" fmla="*/ 525092 w 2743748"/>
              <a:gd name="connsiteY77" fmla="*/ 965982 h 2688716"/>
              <a:gd name="connsiteX78" fmla="*/ 685498 w 2743748"/>
              <a:gd name="connsiteY78" fmla="*/ 965982 h 2688716"/>
              <a:gd name="connsiteX79" fmla="*/ 845904 w 2743748"/>
              <a:gd name="connsiteY79" fmla="*/ 965982 h 2688716"/>
              <a:gd name="connsiteX80" fmla="*/ 847740 w 2743748"/>
              <a:gd name="connsiteY80" fmla="*/ 913553 h 2688716"/>
              <a:gd name="connsiteX81" fmla="*/ 864443 w 2743748"/>
              <a:gd name="connsiteY81" fmla="*/ 846535 h 2688716"/>
              <a:gd name="connsiteX82" fmla="*/ 879309 w 2743748"/>
              <a:gd name="connsiteY82" fmla="*/ 831981 h 2688716"/>
              <a:gd name="connsiteX83" fmla="*/ 1099109 w 2743748"/>
              <a:gd name="connsiteY83" fmla="*/ 830491 h 2688716"/>
              <a:gd name="connsiteX84" fmla="*/ 1318875 w 2743748"/>
              <a:gd name="connsiteY84" fmla="*/ 829001 h 2688716"/>
              <a:gd name="connsiteX85" fmla="*/ 1318875 w 2743748"/>
              <a:gd name="connsiteY85" fmla="*/ 667555 h 2688716"/>
              <a:gd name="connsiteX86" fmla="*/ 1318875 w 2743748"/>
              <a:gd name="connsiteY86" fmla="*/ 506110 h 2688716"/>
              <a:gd name="connsiteX87" fmla="*/ 1292574 w 2743748"/>
              <a:gd name="connsiteY87" fmla="*/ 494258 h 2688716"/>
              <a:gd name="connsiteX88" fmla="*/ 1201022 w 2743748"/>
              <a:gd name="connsiteY88" fmla="*/ 389712 h 2688716"/>
              <a:gd name="connsiteX89" fmla="*/ 1197765 w 2743748"/>
              <a:gd name="connsiteY89" fmla="*/ 289532 h 2688716"/>
              <a:gd name="connsiteX90" fmla="*/ 1251268 w 2743748"/>
              <a:gd name="connsiteY90" fmla="*/ 205084 h 2688716"/>
              <a:gd name="connsiteX91" fmla="*/ 1339216 w 2743748"/>
              <a:gd name="connsiteY91" fmla="*/ 161318 h 2688716"/>
              <a:gd name="connsiteX92" fmla="*/ 1454713 w 2743748"/>
              <a:gd name="connsiteY92" fmla="*/ 175976 h 2688716"/>
              <a:gd name="connsiteX93" fmla="*/ 1528557 w 2743748"/>
              <a:gd name="connsiteY93" fmla="*/ 244172 h 2688716"/>
              <a:gd name="connsiteX94" fmla="*/ 1505963 w 2743748"/>
              <a:gd name="connsiteY94" fmla="*/ 453299 h 2688716"/>
              <a:gd name="connsiteX95" fmla="*/ 1452460 w 2743748"/>
              <a:gd name="connsiteY95" fmla="*/ 494258 h 2688716"/>
              <a:gd name="connsiteX96" fmla="*/ 1426159 w 2743748"/>
              <a:gd name="connsiteY96" fmla="*/ 506110 h 2688716"/>
              <a:gd name="connsiteX97" fmla="*/ 1426159 w 2743748"/>
              <a:gd name="connsiteY97" fmla="*/ 667728 h 2688716"/>
              <a:gd name="connsiteX98" fmla="*/ 1426159 w 2743748"/>
              <a:gd name="connsiteY98" fmla="*/ 829347 h 2688716"/>
              <a:gd name="connsiteX99" fmla="*/ 1538606 w 2743748"/>
              <a:gd name="connsiteY99" fmla="*/ 829347 h 2688716"/>
              <a:gd name="connsiteX100" fmla="*/ 1651053 w 2743748"/>
              <a:gd name="connsiteY100" fmla="*/ 829347 h 2688716"/>
              <a:gd name="connsiteX101" fmla="*/ 1652578 w 2743748"/>
              <a:gd name="connsiteY101" fmla="*/ 635016 h 2688716"/>
              <a:gd name="connsiteX102" fmla="*/ 1654103 w 2743748"/>
              <a:gd name="connsiteY102" fmla="*/ 440686 h 2688716"/>
              <a:gd name="connsiteX103" fmla="*/ 1668968 w 2743748"/>
              <a:gd name="connsiteY103" fmla="*/ 426132 h 2688716"/>
              <a:gd name="connsiteX104" fmla="*/ 1683834 w 2743748"/>
              <a:gd name="connsiteY104" fmla="*/ 411578 h 2688716"/>
              <a:gd name="connsiteX105" fmla="*/ 1882046 w 2743748"/>
              <a:gd name="connsiteY105" fmla="*/ 411578 h 2688716"/>
              <a:gd name="connsiteX106" fmla="*/ 2080258 w 2743748"/>
              <a:gd name="connsiteY106" fmla="*/ 411578 h 2688716"/>
              <a:gd name="connsiteX107" fmla="*/ 2094985 w 2743748"/>
              <a:gd name="connsiteY107" fmla="*/ 426028 h 2688716"/>
              <a:gd name="connsiteX108" fmla="*/ 2094985 w 2743748"/>
              <a:gd name="connsiteY108" fmla="*/ 496961 h 2688716"/>
              <a:gd name="connsiteX109" fmla="*/ 2080258 w 2743748"/>
              <a:gd name="connsiteY109" fmla="*/ 511412 h 2688716"/>
              <a:gd name="connsiteX110" fmla="*/ 1919471 w 2743748"/>
              <a:gd name="connsiteY110" fmla="*/ 512936 h 2688716"/>
              <a:gd name="connsiteX111" fmla="*/ 1758684 w 2743748"/>
              <a:gd name="connsiteY111" fmla="*/ 514495 h 2688716"/>
              <a:gd name="connsiteX112" fmla="*/ 1758684 w 2743748"/>
              <a:gd name="connsiteY112" fmla="*/ 671436 h 2688716"/>
              <a:gd name="connsiteX113" fmla="*/ 1758684 w 2743748"/>
              <a:gd name="connsiteY113" fmla="*/ 828377 h 2688716"/>
              <a:gd name="connsiteX114" fmla="*/ 1812222 w 2743748"/>
              <a:gd name="connsiteY114" fmla="*/ 830179 h 2688716"/>
              <a:gd name="connsiteX115" fmla="*/ 1880591 w 2743748"/>
              <a:gd name="connsiteY115" fmla="*/ 846535 h 2688716"/>
              <a:gd name="connsiteX116" fmla="*/ 1895457 w 2743748"/>
              <a:gd name="connsiteY116" fmla="*/ 861089 h 2688716"/>
              <a:gd name="connsiteX117" fmla="*/ 1896981 w 2743748"/>
              <a:gd name="connsiteY117" fmla="*/ 1076454 h 2688716"/>
              <a:gd name="connsiteX118" fmla="*/ 1898471 w 2743748"/>
              <a:gd name="connsiteY118" fmla="*/ 1291784 h 2688716"/>
              <a:gd name="connsiteX119" fmla="*/ 2063278 w 2743748"/>
              <a:gd name="connsiteY119" fmla="*/ 1291784 h 2688716"/>
              <a:gd name="connsiteX120" fmla="*/ 2228051 w 2743748"/>
              <a:gd name="connsiteY120" fmla="*/ 1291784 h 2688716"/>
              <a:gd name="connsiteX121" fmla="*/ 2240110 w 2743748"/>
              <a:gd name="connsiteY121" fmla="*/ 1266002 h 2688716"/>
              <a:gd name="connsiteX122" fmla="*/ 2346839 w 2743748"/>
              <a:gd name="connsiteY122" fmla="*/ 1176288 h 2688716"/>
              <a:gd name="connsiteX123" fmla="*/ 2449099 w 2743748"/>
              <a:gd name="connsiteY123" fmla="*/ 1173099 h 2688716"/>
              <a:gd name="connsiteX124" fmla="*/ 2535279 w 2743748"/>
              <a:gd name="connsiteY124" fmla="*/ 1225528 h 2688716"/>
              <a:gd name="connsiteX125" fmla="*/ 2579911 w 2743748"/>
              <a:gd name="connsiteY125" fmla="*/ 1311709 h 2688716"/>
              <a:gd name="connsiteX126" fmla="*/ 2564976 w 2743748"/>
              <a:gd name="connsiteY126" fmla="*/ 1424849 h 2688716"/>
              <a:gd name="connsiteX127" fmla="*/ 2495359 w 2743748"/>
              <a:gd name="connsiteY127" fmla="*/ 1497204 h 2688716"/>
              <a:gd name="connsiteX128" fmla="*/ 2281970 w 2743748"/>
              <a:gd name="connsiteY128" fmla="*/ 1475096 h 2688716"/>
              <a:gd name="connsiteX129" fmla="*/ 2240110 w 2743748"/>
              <a:gd name="connsiteY129" fmla="*/ 1422667 h 2688716"/>
              <a:gd name="connsiteX130" fmla="*/ 2228051 w 2743748"/>
              <a:gd name="connsiteY130" fmla="*/ 1396885 h 2688716"/>
              <a:gd name="connsiteX131" fmla="*/ 2063105 w 2743748"/>
              <a:gd name="connsiteY131" fmla="*/ 1396885 h 2688716"/>
              <a:gd name="connsiteX132" fmla="*/ 1898125 w 2743748"/>
              <a:gd name="connsiteY132" fmla="*/ 1396885 h 2688716"/>
              <a:gd name="connsiteX133" fmla="*/ 1898125 w 2743748"/>
              <a:gd name="connsiteY133" fmla="*/ 1507079 h 2688716"/>
              <a:gd name="connsiteX134" fmla="*/ 1898125 w 2743748"/>
              <a:gd name="connsiteY134" fmla="*/ 1617240 h 2688716"/>
              <a:gd name="connsiteX135" fmla="*/ 2096475 w 2743748"/>
              <a:gd name="connsiteY135" fmla="*/ 1618730 h 2688716"/>
              <a:gd name="connsiteX136" fmla="*/ 2294791 w 2743748"/>
              <a:gd name="connsiteY136" fmla="*/ 1620220 h 2688716"/>
              <a:gd name="connsiteX137" fmla="*/ 2309657 w 2743748"/>
              <a:gd name="connsiteY137" fmla="*/ 1634808 h 2688716"/>
              <a:gd name="connsiteX138" fmla="*/ 2324523 w 2743748"/>
              <a:gd name="connsiteY138" fmla="*/ 1649362 h 2688716"/>
              <a:gd name="connsiteX139" fmla="*/ 2325978 w 2743748"/>
              <a:gd name="connsiteY139" fmla="*/ 1995714 h 2688716"/>
              <a:gd name="connsiteX140" fmla="*/ 2327434 w 2743748"/>
              <a:gd name="connsiteY140" fmla="*/ 2342065 h 2688716"/>
              <a:gd name="connsiteX141" fmla="*/ 2346146 w 2743748"/>
              <a:gd name="connsiteY141" fmla="*/ 2348094 h 2688716"/>
              <a:gd name="connsiteX142" fmla="*/ 2436970 w 2743748"/>
              <a:gd name="connsiteY142" fmla="*/ 2434899 h 2688716"/>
              <a:gd name="connsiteX143" fmla="*/ 2396184 w 2743748"/>
              <a:gd name="connsiteY143" fmla="*/ 2640075 h 2688716"/>
              <a:gd name="connsiteX144" fmla="*/ 2321786 w 2743748"/>
              <a:gd name="connsiteY144" fmla="*/ 2681277 h 2688716"/>
              <a:gd name="connsiteX145" fmla="*/ 2223303 w 2743748"/>
              <a:gd name="connsiteY145" fmla="*/ 2681035 h 2688716"/>
              <a:gd name="connsiteX146" fmla="*/ 2309831 w 2743748"/>
              <a:gd name="connsiteY146" fmla="*/ 2574062 h 2688716"/>
              <a:gd name="connsiteX147" fmla="*/ 2309831 w 2743748"/>
              <a:gd name="connsiteY147" fmla="*/ 2447893 h 2688716"/>
              <a:gd name="connsiteX148" fmla="*/ 2209200 w 2743748"/>
              <a:gd name="connsiteY148" fmla="*/ 2546479 h 2688716"/>
              <a:gd name="connsiteX149" fmla="*/ 2273584 w 2743748"/>
              <a:gd name="connsiteY149" fmla="*/ 2584493 h 2688716"/>
              <a:gd name="connsiteX150" fmla="*/ 2309831 w 2743748"/>
              <a:gd name="connsiteY150" fmla="*/ 2574062 h 2688716"/>
              <a:gd name="connsiteX151" fmla="*/ 1408763 w 2743748"/>
              <a:gd name="connsiteY151" fmla="*/ 2416394 h 2688716"/>
              <a:gd name="connsiteX152" fmla="*/ 1408763 w 2743748"/>
              <a:gd name="connsiteY152" fmla="*/ 2290225 h 2688716"/>
              <a:gd name="connsiteX153" fmla="*/ 1308133 w 2743748"/>
              <a:gd name="connsiteY153" fmla="*/ 2388845 h 2688716"/>
              <a:gd name="connsiteX154" fmla="*/ 1372517 w 2743748"/>
              <a:gd name="connsiteY154" fmla="*/ 2426859 h 2688716"/>
              <a:gd name="connsiteX155" fmla="*/ 1408763 w 2743748"/>
              <a:gd name="connsiteY155" fmla="*/ 2416394 h 2688716"/>
              <a:gd name="connsiteX156" fmla="*/ 1790875 w 2743748"/>
              <a:gd name="connsiteY156" fmla="*/ 1344352 h 2688716"/>
              <a:gd name="connsiteX157" fmla="*/ 1790875 w 2743748"/>
              <a:gd name="connsiteY157" fmla="*/ 934448 h 2688716"/>
              <a:gd name="connsiteX158" fmla="*/ 1372517 w 2743748"/>
              <a:gd name="connsiteY158" fmla="*/ 934448 h 2688716"/>
              <a:gd name="connsiteX159" fmla="*/ 954158 w 2743748"/>
              <a:gd name="connsiteY159" fmla="*/ 934448 h 2688716"/>
              <a:gd name="connsiteX160" fmla="*/ 954158 w 2743748"/>
              <a:gd name="connsiteY160" fmla="*/ 1344352 h 2688716"/>
              <a:gd name="connsiteX161" fmla="*/ 954158 w 2743748"/>
              <a:gd name="connsiteY161" fmla="*/ 1754256 h 2688716"/>
              <a:gd name="connsiteX162" fmla="*/ 1372517 w 2743748"/>
              <a:gd name="connsiteY162" fmla="*/ 1754256 h 2688716"/>
              <a:gd name="connsiteX163" fmla="*/ 1790875 w 2743748"/>
              <a:gd name="connsiteY163" fmla="*/ 1754256 h 2688716"/>
              <a:gd name="connsiteX164" fmla="*/ 1160652 w 2743748"/>
              <a:gd name="connsiteY164" fmla="*/ 1581201 h 2688716"/>
              <a:gd name="connsiteX165" fmla="*/ 1139202 w 2743748"/>
              <a:gd name="connsiteY165" fmla="*/ 1565122 h 2688716"/>
              <a:gd name="connsiteX166" fmla="*/ 1128495 w 2743748"/>
              <a:gd name="connsiteY166" fmla="*/ 1343901 h 2688716"/>
              <a:gd name="connsiteX167" fmla="*/ 1128495 w 2743748"/>
              <a:gd name="connsiteY167" fmla="*/ 1134393 h 2688716"/>
              <a:gd name="connsiteX168" fmla="*/ 1143360 w 2743748"/>
              <a:gd name="connsiteY168" fmla="*/ 1119804 h 2688716"/>
              <a:gd name="connsiteX169" fmla="*/ 1158226 w 2743748"/>
              <a:gd name="connsiteY169" fmla="*/ 1105250 h 2688716"/>
              <a:gd name="connsiteX170" fmla="*/ 1372517 w 2743748"/>
              <a:gd name="connsiteY170" fmla="*/ 1105250 h 2688716"/>
              <a:gd name="connsiteX171" fmla="*/ 1586807 w 2743748"/>
              <a:gd name="connsiteY171" fmla="*/ 1105250 h 2688716"/>
              <a:gd name="connsiteX172" fmla="*/ 1601673 w 2743748"/>
              <a:gd name="connsiteY172" fmla="*/ 1119804 h 2688716"/>
              <a:gd name="connsiteX173" fmla="*/ 1616539 w 2743748"/>
              <a:gd name="connsiteY173" fmla="*/ 1134393 h 2688716"/>
              <a:gd name="connsiteX174" fmla="*/ 1616539 w 2743748"/>
              <a:gd name="connsiteY174" fmla="*/ 1344352 h 2688716"/>
              <a:gd name="connsiteX175" fmla="*/ 1616539 w 2743748"/>
              <a:gd name="connsiteY175" fmla="*/ 1554311 h 2688716"/>
              <a:gd name="connsiteX176" fmla="*/ 1601673 w 2743748"/>
              <a:gd name="connsiteY176" fmla="*/ 1568865 h 2688716"/>
              <a:gd name="connsiteX177" fmla="*/ 1586807 w 2743748"/>
              <a:gd name="connsiteY177" fmla="*/ 1583454 h 2688716"/>
              <a:gd name="connsiteX178" fmla="*/ 1379101 w 2743748"/>
              <a:gd name="connsiteY178" fmla="*/ 1584528 h 2688716"/>
              <a:gd name="connsiteX179" fmla="*/ 1160652 w 2743748"/>
              <a:gd name="connsiteY179" fmla="*/ 1581201 h 2688716"/>
              <a:gd name="connsiteX180" fmla="*/ 1511958 w 2743748"/>
              <a:gd name="connsiteY180" fmla="*/ 1344352 h 2688716"/>
              <a:gd name="connsiteX181" fmla="*/ 1511958 w 2743748"/>
              <a:gd name="connsiteY181" fmla="*/ 1207717 h 2688716"/>
              <a:gd name="connsiteX182" fmla="*/ 1372517 w 2743748"/>
              <a:gd name="connsiteY182" fmla="*/ 1207717 h 2688716"/>
              <a:gd name="connsiteX183" fmla="*/ 1233075 w 2743748"/>
              <a:gd name="connsiteY183" fmla="*/ 1207717 h 2688716"/>
              <a:gd name="connsiteX184" fmla="*/ 1233075 w 2743748"/>
              <a:gd name="connsiteY184" fmla="*/ 1344352 h 2688716"/>
              <a:gd name="connsiteX185" fmla="*/ 1233075 w 2743748"/>
              <a:gd name="connsiteY185" fmla="*/ 1480987 h 2688716"/>
              <a:gd name="connsiteX186" fmla="*/ 1372517 w 2743748"/>
              <a:gd name="connsiteY186" fmla="*/ 1480987 h 2688716"/>
              <a:gd name="connsiteX187" fmla="*/ 1511958 w 2743748"/>
              <a:gd name="connsiteY187" fmla="*/ 1480987 h 2688716"/>
              <a:gd name="connsiteX188" fmla="*/ 378990 w 2743748"/>
              <a:gd name="connsiteY188" fmla="*/ 1407419 h 2688716"/>
              <a:gd name="connsiteX189" fmla="*/ 378990 w 2743748"/>
              <a:gd name="connsiteY189" fmla="*/ 1281250 h 2688716"/>
              <a:gd name="connsiteX190" fmla="*/ 278346 w 2743748"/>
              <a:gd name="connsiteY190" fmla="*/ 1379871 h 2688716"/>
              <a:gd name="connsiteX191" fmla="*/ 342737 w 2743748"/>
              <a:gd name="connsiteY191" fmla="*/ 1417884 h 2688716"/>
              <a:gd name="connsiteX192" fmla="*/ 378990 w 2743748"/>
              <a:gd name="connsiteY192" fmla="*/ 1407419 h 2688716"/>
              <a:gd name="connsiteX193" fmla="*/ 2438564 w 2743748"/>
              <a:gd name="connsiteY193" fmla="*/ 1407419 h 2688716"/>
              <a:gd name="connsiteX194" fmla="*/ 2438564 w 2743748"/>
              <a:gd name="connsiteY194" fmla="*/ 1281250 h 2688716"/>
              <a:gd name="connsiteX195" fmla="*/ 2337899 w 2743748"/>
              <a:gd name="connsiteY195" fmla="*/ 1379871 h 2688716"/>
              <a:gd name="connsiteX196" fmla="*/ 2402283 w 2743748"/>
              <a:gd name="connsiteY196" fmla="*/ 1417884 h 2688716"/>
              <a:gd name="connsiteX197" fmla="*/ 2438564 w 2743748"/>
              <a:gd name="connsiteY197" fmla="*/ 1407419 h 2688716"/>
              <a:gd name="connsiteX198" fmla="*/ 1408763 w 2743748"/>
              <a:gd name="connsiteY198" fmla="*/ 398444 h 2688716"/>
              <a:gd name="connsiteX199" fmla="*/ 1408763 w 2743748"/>
              <a:gd name="connsiteY199" fmla="*/ 272275 h 2688716"/>
              <a:gd name="connsiteX200" fmla="*/ 1308133 w 2743748"/>
              <a:gd name="connsiteY200" fmla="*/ 370896 h 2688716"/>
              <a:gd name="connsiteX201" fmla="*/ 1372517 w 2743748"/>
              <a:gd name="connsiteY201" fmla="*/ 408909 h 2688716"/>
              <a:gd name="connsiteX202" fmla="*/ 1408763 w 2743748"/>
              <a:gd name="connsiteY202" fmla="*/ 398444 h 2688716"/>
              <a:gd name="connsiteX203" fmla="*/ 507696 w 2743748"/>
              <a:gd name="connsiteY203" fmla="*/ 240811 h 2688716"/>
              <a:gd name="connsiteX204" fmla="*/ 535834 w 2743748"/>
              <a:gd name="connsiteY204" fmla="*/ 213227 h 2688716"/>
              <a:gd name="connsiteX205" fmla="*/ 435203 w 2743748"/>
              <a:gd name="connsiteY205" fmla="*/ 114641 h 2688716"/>
              <a:gd name="connsiteX206" fmla="*/ 407066 w 2743748"/>
              <a:gd name="connsiteY206" fmla="*/ 142190 h 2688716"/>
              <a:gd name="connsiteX207" fmla="*/ 507696 w 2743748"/>
              <a:gd name="connsiteY207" fmla="*/ 240811 h 2688716"/>
              <a:gd name="connsiteX208" fmla="*/ 131547 w 2743748"/>
              <a:gd name="connsiteY208" fmla="*/ 2397266 h 2688716"/>
              <a:gd name="connsiteX209" fmla="*/ 3625 w 2743748"/>
              <a:gd name="connsiteY209" fmla="*/ 2197495 h 2688716"/>
              <a:gd name="connsiteX210" fmla="*/ 152013 w 2743748"/>
              <a:gd name="connsiteY210" fmla="*/ 2052475 h 2688716"/>
              <a:gd name="connsiteX211" fmla="*/ 342397 w 2743748"/>
              <a:gd name="connsiteY211" fmla="*/ 2146244 h 2688716"/>
              <a:gd name="connsiteX212" fmla="*/ 229954 w 2743748"/>
              <a:gd name="connsiteY212" fmla="*/ 2397543 h 2688716"/>
              <a:gd name="connsiteX213" fmla="*/ 131547 w 2743748"/>
              <a:gd name="connsiteY213" fmla="*/ 2397266 h 2688716"/>
              <a:gd name="connsiteX214" fmla="*/ 218089 w 2743748"/>
              <a:gd name="connsiteY214" fmla="*/ 2290294 h 2688716"/>
              <a:gd name="connsiteX215" fmla="*/ 218089 w 2743748"/>
              <a:gd name="connsiteY215" fmla="*/ 2164090 h 2688716"/>
              <a:gd name="connsiteX216" fmla="*/ 117444 w 2743748"/>
              <a:gd name="connsiteY216" fmla="*/ 2262710 h 2688716"/>
              <a:gd name="connsiteX217" fmla="*/ 181835 w 2743748"/>
              <a:gd name="connsiteY217" fmla="*/ 2300724 h 2688716"/>
              <a:gd name="connsiteX218" fmla="*/ 218089 w 2743748"/>
              <a:gd name="connsiteY218" fmla="*/ 2290294 h 2688716"/>
              <a:gd name="connsiteX219" fmla="*/ 470237 w 2743748"/>
              <a:gd name="connsiteY219" fmla="*/ 2271547 h 2688716"/>
              <a:gd name="connsiteX220" fmla="*/ 444629 w 2743748"/>
              <a:gd name="connsiteY220" fmla="*/ 2224662 h 2688716"/>
              <a:gd name="connsiteX221" fmla="*/ 514696 w 2743748"/>
              <a:gd name="connsiteY221" fmla="*/ 2180030 h 2688716"/>
              <a:gd name="connsiteX222" fmla="*/ 546541 w 2743748"/>
              <a:gd name="connsiteY222" fmla="*/ 2226083 h 2688716"/>
              <a:gd name="connsiteX223" fmla="*/ 519824 w 2743748"/>
              <a:gd name="connsiteY223" fmla="*/ 2271824 h 2688716"/>
              <a:gd name="connsiteX224" fmla="*/ 470237 w 2743748"/>
              <a:gd name="connsiteY224" fmla="*/ 2271582 h 2688716"/>
              <a:gd name="connsiteX225" fmla="*/ 2512928 w 2743748"/>
              <a:gd name="connsiteY225" fmla="*/ 631551 h 2688716"/>
              <a:gd name="connsiteX226" fmla="*/ 2384991 w 2743748"/>
              <a:gd name="connsiteY226" fmla="*/ 431780 h 2688716"/>
              <a:gd name="connsiteX227" fmla="*/ 2533373 w 2743748"/>
              <a:gd name="connsiteY227" fmla="*/ 286794 h 2688716"/>
              <a:gd name="connsiteX228" fmla="*/ 2723754 w 2743748"/>
              <a:gd name="connsiteY228" fmla="*/ 380529 h 2688716"/>
              <a:gd name="connsiteX229" fmla="*/ 2611307 w 2743748"/>
              <a:gd name="connsiteY229" fmla="*/ 631829 h 2688716"/>
              <a:gd name="connsiteX230" fmla="*/ 2512928 w 2743748"/>
              <a:gd name="connsiteY230" fmla="*/ 631551 h 2688716"/>
              <a:gd name="connsiteX231" fmla="*/ 2599455 w 2743748"/>
              <a:gd name="connsiteY231" fmla="*/ 524579 h 2688716"/>
              <a:gd name="connsiteX232" fmla="*/ 2599455 w 2743748"/>
              <a:gd name="connsiteY232" fmla="*/ 398410 h 2688716"/>
              <a:gd name="connsiteX233" fmla="*/ 2498825 w 2743748"/>
              <a:gd name="connsiteY233" fmla="*/ 496996 h 2688716"/>
              <a:gd name="connsiteX234" fmla="*/ 2563209 w 2743748"/>
              <a:gd name="connsiteY234" fmla="*/ 535010 h 2688716"/>
              <a:gd name="connsiteX235" fmla="*/ 2599455 w 2743748"/>
              <a:gd name="connsiteY235" fmla="*/ 524579 h 2688716"/>
              <a:gd name="connsiteX236" fmla="*/ 2224101 w 2743748"/>
              <a:gd name="connsiteY236" fmla="*/ 505867 h 2688716"/>
              <a:gd name="connsiteX237" fmla="*/ 2198492 w 2743748"/>
              <a:gd name="connsiteY237" fmla="*/ 458983 h 2688716"/>
              <a:gd name="connsiteX238" fmla="*/ 2268525 w 2743748"/>
              <a:gd name="connsiteY238" fmla="*/ 414315 h 2688716"/>
              <a:gd name="connsiteX239" fmla="*/ 2300405 w 2743748"/>
              <a:gd name="connsiteY239" fmla="*/ 460368 h 2688716"/>
              <a:gd name="connsiteX240" fmla="*/ 2273688 w 2743748"/>
              <a:gd name="connsiteY240" fmla="*/ 506110 h 2688716"/>
              <a:gd name="connsiteX241" fmla="*/ 2224101 w 2743748"/>
              <a:gd name="connsiteY241" fmla="*/ 505867 h 268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2743748" h="2688716">
                <a:moveTo>
                  <a:pt x="2223303" y="2681035"/>
                </a:moveTo>
                <a:cubicBezTo>
                  <a:pt x="2115708" y="2648669"/>
                  <a:pt x="2062654" y="2533277"/>
                  <a:pt x="2110163" y="2434899"/>
                </a:cubicBezTo>
                <a:cubicBezTo>
                  <a:pt x="2126068" y="2401979"/>
                  <a:pt x="2172988" y="2357173"/>
                  <a:pt x="2201126" y="2348060"/>
                </a:cubicBezTo>
                <a:lnTo>
                  <a:pt x="2219942" y="2341995"/>
                </a:lnTo>
                <a:lnTo>
                  <a:pt x="2219942" y="2032341"/>
                </a:lnTo>
                <a:lnTo>
                  <a:pt x="2219942" y="1722722"/>
                </a:lnTo>
                <a:lnTo>
                  <a:pt x="2059536" y="1722722"/>
                </a:lnTo>
                <a:lnTo>
                  <a:pt x="1899130" y="1722722"/>
                </a:lnTo>
                <a:lnTo>
                  <a:pt x="1897293" y="1775151"/>
                </a:lnTo>
                <a:cubicBezTo>
                  <a:pt x="1895561" y="1824288"/>
                  <a:pt x="1894521" y="1828515"/>
                  <a:pt x="1880591" y="1842169"/>
                </a:cubicBezTo>
                <a:lnTo>
                  <a:pt x="1865725" y="1856723"/>
                </a:lnTo>
                <a:lnTo>
                  <a:pt x="1645924" y="1858213"/>
                </a:lnTo>
                <a:lnTo>
                  <a:pt x="1426159" y="1859668"/>
                </a:lnTo>
                <a:lnTo>
                  <a:pt x="1426159" y="2021148"/>
                </a:lnTo>
                <a:lnTo>
                  <a:pt x="1426159" y="2182594"/>
                </a:lnTo>
                <a:lnTo>
                  <a:pt x="1452460" y="2194411"/>
                </a:lnTo>
                <a:cubicBezTo>
                  <a:pt x="1491825" y="2212118"/>
                  <a:pt x="1530601" y="2256404"/>
                  <a:pt x="1544012" y="2298992"/>
                </a:cubicBezTo>
                <a:cubicBezTo>
                  <a:pt x="1556764" y="2339362"/>
                  <a:pt x="1557492" y="2361643"/>
                  <a:pt x="1547304" y="2399172"/>
                </a:cubicBezTo>
                <a:cubicBezTo>
                  <a:pt x="1537809" y="2434067"/>
                  <a:pt x="1523324" y="2456938"/>
                  <a:pt x="1493766" y="2483620"/>
                </a:cubicBezTo>
                <a:cubicBezTo>
                  <a:pt x="1463826" y="2510683"/>
                  <a:pt x="1447054" y="2519000"/>
                  <a:pt x="1405818" y="2527351"/>
                </a:cubicBezTo>
                <a:cubicBezTo>
                  <a:pt x="1369502" y="2534697"/>
                  <a:pt x="1321786" y="2528668"/>
                  <a:pt x="1290321" y="2512728"/>
                </a:cubicBezTo>
                <a:cubicBezTo>
                  <a:pt x="1268802" y="2501812"/>
                  <a:pt x="1230061" y="2466016"/>
                  <a:pt x="1216477" y="2444497"/>
                </a:cubicBezTo>
                <a:cubicBezTo>
                  <a:pt x="1175795" y="2380009"/>
                  <a:pt x="1185186" y="2293170"/>
                  <a:pt x="1239070" y="2235404"/>
                </a:cubicBezTo>
                <a:cubicBezTo>
                  <a:pt x="1254941" y="2218390"/>
                  <a:pt x="1277223" y="2201307"/>
                  <a:pt x="1292574" y="2194411"/>
                </a:cubicBezTo>
                <a:lnTo>
                  <a:pt x="1318875" y="2182594"/>
                </a:lnTo>
                <a:lnTo>
                  <a:pt x="1318875" y="2020975"/>
                </a:lnTo>
                <a:lnTo>
                  <a:pt x="1318875" y="1859356"/>
                </a:lnTo>
                <a:lnTo>
                  <a:pt x="1206428" y="1859356"/>
                </a:lnTo>
                <a:lnTo>
                  <a:pt x="1093981" y="1859356"/>
                </a:lnTo>
                <a:lnTo>
                  <a:pt x="1092456" y="2053653"/>
                </a:lnTo>
                <a:lnTo>
                  <a:pt x="1090931" y="2247984"/>
                </a:lnTo>
                <a:lnTo>
                  <a:pt x="1076065" y="2262537"/>
                </a:lnTo>
                <a:lnTo>
                  <a:pt x="1061199" y="2277126"/>
                </a:lnTo>
                <a:lnTo>
                  <a:pt x="862987" y="2277126"/>
                </a:lnTo>
                <a:lnTo>
                  <a:pt x="664776" y="2277126"/>
                </a:lnTo>
                <a:lnTo>
                  <a:pt x="650048" y="2262676"/>
                </a:lnTo>
                <a:cubicBezTo>
                  <a:pt x="629465" y="2242508"/>
                  <a:pt x="629465" y="2211910"/>
                  <a:pt x="650048" y="2191708"/>
                </a:cubicBezTo>
                <a:lnTo>
                  <a:pt x="664776" y="2177258"/>
                </a:lnTo>
                <a:lnTo>
                  <a:pt x="825563" y="2175733"/>
                </a:lnTo>
                <a:lnTo>
                  <a:pt x="986350" y="2174208"/>
                </a:lnTo>
                <a:lnTo>
                  <a:pt x="986350" y="2017267"/>
                </a:lnTo>
                <a:lnTo>
                  <a:pt x="986350" y="1860326"/>
                </a:lnTo>
                <a:lnTo>
                  <a:pt x="932847" y="1858525"/>
                </a:lnTo>
                <a:cubicBezTo>
                  <a:pt x="882670" y="1856827"/>
                  <a:pt x="878373" y="1855787"/>
                  <a:pt x="864443" y="1842134"/>
                </a:cubicBezTo>
                <a:lnTo>
                  <a:pt x="849577" y="1827580"/>
                </a:lnTo>
                <a:lnTo>
                  <a:pt x="848087" y="1612250"/>
                </a:lnTo>
                <a:lnTo>
                  <a:pt x="846562" y="1396885"/>
                </a:lnTo>
                <a:lnTo>
                  <a:pt x="681790" y="1396885"/>
                </a:lnTo>
                <a:lnTo>
                  <a:pt x="516983" y="1396885"/>
                </a:lnTo>
                <a:lnTo>
                  <a:pt x="504924" y="1422667"/>
                </a:lnTo>
                <a:cubicBezTo>
                  <a:pt x="486870" y="1461234"/>
                  <a:pt x="441649" y="1499248"/>
                  <a:pt x="398194" y="1512381"/>
                </a:cubicBezTo>
                <a:cubicBezTo>
                  <a:pt x="356968" y="1524856"/>
                  <a:pt x="334243" y="1525584"/>
                  <a:pt x="295946" y="1515570"/>
                </a:cubicBezTo>
                <a:cubicBezTo>
                  <a:pt x="260316" y="1506283"/>
                  <a:pt x="236998" y="1492110"/>
                  <a:pt x="209758" y="1463141"/>
                </a:cubicBezTo>
                <a:cubicBezTo>
                  <a:pt x="182144" y="1433790"/>
                  <a:pt x="173629" y="1417365"/>
                  <a:pt x="165115" y="1376960"/>
                </a:cubicBezTo>
                <a:cubicBezTo>
                  <a:pt x="157613" y="1341372"/>
                  <a:pt x="163781" y="1294660"/>
                  <a:pt x="180051" y="1263820"/>
                </a:cubicBezTo>
                <a:cubicBezTo>
                  <a:pt x="191184" y="1242716"/>
                  <a:pt x="227705" y="1204772"/>
                  <a:pt x="249667" y="1191466"/>
                </a:cubicBezTo>
                <a:cubicBezTo>
                  <a:pt x="315490" y="1151615"/>
                  <a:pt x="404120" y="1160798"/>
                  <a:pt x="463098" y="1213573"/>
                </a:cubicBezTo>
                <a:cubicBezTo>
                  <a:pt x="480459" y="1229132"/>
                  <a:pt x="497889" y="1250964"/>
                  <a:pt x="504924" y="1266002"/>
                </a:cubicBezTo>
                <a:lnTo>
                  <a:pt x="516983" y="1291784"/>
                </a:lnTo>
                <a:lnTo>
                  <a:pt x="681929" y="1291784"/>
                </a:lnTo>
                <a:lnTo>
                  <a:pt x="846909" y="1291784"/>
                </a:lnTo>
                <a:lnTo>
                  <a:pt x="846909" y="1181624"/>
                </a:lnTo>
                <a:lnTo>
                  <a:pt x="846909" y="1071464"/>
                </a:lnTo>
                <a:lnTo>
                  <a:pt x="648558" y="1069939"/>
                </a:lnTo>
                <a:lnTo>
                  <a:pt x="450242" y="1068449"/>
                </a:lnTo>
                <a:lnTo>
                  <a:pt x="435377" y="1053895"/>
                </a:lnTo>
                <a:lnTo>
                  <a:pt x="420511" y="1039307"/>
                </a:lnTo>
                <a:lnTo>
                  <a:pt x="419055" y="692956"/>
                </a:lnTo>
                <a:lnTo>
                  <a:pt x="417600" y="346639"/>
                </a:lnTo>
                <a:lnTo>
                  <a:pt x="398922" y="340575"/>
                </a:lnTo>
                <a:cubicBezTo>
                  <a:pt x="388627" y="337249"/>
                  <a:pt x="367063" y="322764"/>
                  <a:pt x="350987" y="308348"/>
                </a:cubicBezTo>
                <a:cubicBezTo>
                  <a:pt x="238672" y="207787"/>
                  <a:pt x="289940" y="34178"/>
                  <a:pt x="441129" y="3095"/>
                </a:cubicBezTo>
                <a:cubicBezTo>
                  <a:pt x="492102" y="-7370"/>
                  <a:pt x="553507" y="10719"/>
                  <a:pt x="594085" y="48108"/>
                </a:cubicBezTo>
                <a:cubicBezTo>
                  <a:pt x="652405" y="101924"/>
                  <a:pt x="668657" y="183842"/>
                  <a:pt x="634871" y="253805"/>
                </a:cubicBezTo>
                <a:cubicBezTo>
                  <a:pt x="618965" y="286725"/>
                  <a:pt x="572046" y="331531"/>
                  <a:pt x="543908" y="340610"/>
                </a:cubicBezTo>
                <a:lnTo>
                  <a:pt x="525092" y="346708"/>
                </a:lnTo>
                <a:lnTo>
                  <a:pt x="525092" y="656328"/>
                </a:lnTo>
                <a:lnTo>
                  <a:pt x="525092" y="965982"/>
                </a:lnTo>
                <a:lnTo>
                  <a:pt x="685498" y="965982"/>
                </a:lnTo>
                <a:lnTo>
                  <a:pt x="845904" y="965982"/>
                </a:lnTo>
                <a:lnTo>
                  <a:pt x="847740" y="913553"/>
                </a:lnTo>
                <a:cubicBezTo>
                  <a:pt x="849473" y="864381"/>
                  <a:pt x="850513" y="860188"/>
                  <a:pt x="864443" y="846535"/>
                </a:cubicBezTo>
                <a:lnTo>
                  <a:pt x="879309" y="831981"/>
                </a:lnTo>
                <a:lnTo>
                  <a:pt x="1099109" y="830491"/>
                </a:lnTo>
                <a:lnTo>
                  <a:pt x="1318875" y="829001"/>
                </a:lnTo>
                <a:lnTo>
                  <a:pt x="1318875" y="667555"/>
                </a:lnTo>
                <a:lnTo>
                  <a:pt x="1318875" y="506110"/>
                </a:lnTo>
                <a:lnTo>
                  <a:pt x="1292574" y="494258"/>
                </a:lnTo>
                <a:cubicBezTo>
                  <a:pt x="1253209" y="476586"/>
                  <a:pt x="1214432" y="432300"/>
                  <a:pt x="1201022" y="389712"/>
                </a:cubicBezTo>
                <a:cubicBezTo>
                  <a:pt x="1188270" y="349307"/>
                  <a:pt x="1187542" y="327060"/>
                  <a:pt x="1197765" y="289532"/>
                </a:cubicBezTo>
                <a:cubicBezTo>
                  <a:pt x="1207225" y="254602"/>
                  <a:pt x="1221709" y="231766"/>
                  <a:pt x="1251268" y="205084"/>
                </a:cubicBezTo>
                <a:cubicBezTo>
                  <a:pt x="1281242" y="178021"/>
                  <a:pt x="1298014" y="169669"/>
                  <a:pt x="1339216" y="161318"/>
                </a:cubicBezTo>
                <a:cubicBezTo>
                  <a:pt x="1375532" y="153972"/>
                  <a:pt x="1423248" y="160036"/>
                  <a:pt x="1454713" y="175976"/>
                </a:cubicBezTo>
                <a:cubicBezTo>
                  <a:pt x="1476232" y="186891"/>
                  <a:pt x="1514973" y="222653"/>
                  <a:pt x="1528557" y="244172"/>
                </a:cubicBezTo>
                <a:cubicBezTo>
                  <a:pt x="1569239" y="308660"/>
                  <a:pt x="1559848" y="395534"/>
                  <a:pt x="1505963" y="453299"/>
                </a:cubicBezTo>
                <a:cubicBezTo>
                  <a:pt x="1490093" y="470314"/>
                  <a:pt x="1467811" y="487363"/>
                  <a:pt x="1452460" y="494258"/>
                </a:cubicBezTo>
                <a:lnTo>
                  <a:pt x="1426159" y="506110"/>
                </a:lnTo>
                <a:lnTo>
                  <a:pt x="1426159" y="667728"/>
                </a:lnTo>
                <a:lnTo>
                  <a:pt x="1426159" y="829347"/>
                </a:lnTo>
                <a:lnTo>
                  <a:pt x="1538606" y="829347"/>
                </a:lnTo>
                <a:lnTo>
                  <a:pt x="1651053" y="829347"/>
                </a:lnTo>
                <a:lnTo>
                  <a:pt x="1652578" y="635016"/>
                </a:lnTo>
                <a:lnTo>
                  <a:pt x="1654103" y="440686"/>
                </a:lnTo>
                <a:lnTo>
                  <a:pt x="1668968" y="426132"/>
                </a:lnTo>
                <a:lnTo>
                  <a:pt x="1683834" y="411578"/>
                </a:lnTo>
                <a:lnTo>
                  <a:pt x="1882046" y="411578"/>
                </a:lnTo>
                <a:lnTo>
                  <a:pt x="2080258" y="411578"/>
                </a:lnTo>
                <a:lnTo>
                  <a:pt x="2094985" y="426028"/>
                </a:lnTo>
                <a:cubicBezTo>
                  <a:pt x="2115569" y="446196"/>
                  <a:pt x="2115569" y="476794"/>
                  <a:pt x="2094985" y="496961"/>
                </a:cubicBezTo>
                <a:lnTo>
                  <a:pt x="2080258" y="511412"/>
                </a:lnTo>
                <a:lnTo>
                  <a:pt x="1919471" y="512936"/>
                </a:lnTo>
                <a:lnTo>
                  <a:pt x="1758684" y="514495"/>
                </a:lnTo>
                <a:lnTo>
                  <a:pt x="1758684" y="671436"/>
                </a:lnTo>
                <a:lnTo>
                  <a:pt x="1758684" y="828377"/>
                </a:lnTo>
                <a:lnTo>
                  <a:pt x="1812222" y="830179"/>
                </a:lnTo>
                <a:cubicBezTo>
                  <a:pt x="1862363" y="831877"/>
                  <a:pt x="1866661" y="832882"/>
                  <a:pt x="1880591" y="846535"/>
                </a:cubicBezTo>
                <a:lnTo>
                  <a:pt x="1895457" y="861089"/>
                </a:lnTo>
                <a:lnTo>
                  <a:pt x="1896981" y="1076454"/>
                </a:lnTo>
                <a:lnTo>
                  <a:pt x="1898471" y="1291784"/>
                </a:lnTo>
                <a:lnTo>
                  <a:pt x="2063278" y="1291784"/>
                </a:lnTo>
                <a:lnTo>
                  <a:pt x="2228051" y="1291784"/>
                </a:lnTo>
                <a:lnTo>
                  <a:pt x="2240110" y="1266002"/>
                </a:lnTo>
                <a:cubicBezTo>
                  <a:pt x="2258163" y="1227469"/>
                  <a:pt x="2303385" y="1189455"/>
                  <a:pt x="2346839" y="1176288"/>
                </a:cubicBezTo>
                <a:cubicBezTo>
                  <a:pt x="2388076" y="1163813"/>
                  <a:pt x="2410808" y="1163120"/>
                  <a:pt x="2449099" y="1173099"/>
                </a:cubicBezTo>
                <a:cubicBezTo>
                  <a:pt x="2484721" y="1182386"/>
                  <a:pt x="2508043" y="1196594"/>
                  <a:pt x="2535279" y="1225528"/>
                </a:cubicBezTo>
                <a:cubicBezTo>
                  <a:pt x="2562897" y="1254879"/>
                  <a:pt x="2571422" y="1271339"/>
                  <a:pt x="2579911" y="1311709"/>
                </a:cubicBezTo>
                <a:cubicBezTo>
                  <a:pt x="2587431" y="1347297"/>
                  <a:pt x="2581263" y="1394043"/>
                  <a:pt x="2564976" y="1424849"/>
                </a:cubicBezTo>
                <a:cubicBezTo>
                  <a:pt x="2553853" y="1445953"/>
                  <a:pt x="2517329" y="1483932"/>
                  <a:pt x="2495359" y="1497204"/>
                </a:cubicBezTo>
                <a:cubicBezTo>
                  <a:pt x="2429554" y="1537089"/>
                  <a:pt x="2340913" y="1527871"/>
                  <a:pt x="2281970" y="1475096"/>
                </a:cubicBezTo>
                <a:cubicBezTo>
                  <a:pt x="2264575" y="1459537"/>
                  <a:pt x="2247179" y="1437705"/>
                  <a:pt x="2240110" y="1422667"/>
                </a:cubicBezTo>
                <a:lnTo>
                  <a:pt x="2228051" y="1396885"/>
                </a:lnTo>
                <a:lnTo>
                  <a:pt x="2063105" y="1396885"/>
                </a:lnTo>
                <a:lnTo>
                  <a:pt x="1898125" y="1396885"/>
                </a:lnTo>
                <a:lnTo>
                  <a:pt x="1898125" y="1507079"/>
                </a:lnTo>
                <a:lnTo>
                  <a:pt x="1898125" y="1617240"/>
                </a:lnTo>
                <a:lnTo>
                  <a:pt x="2096475" y="1618730"/>
                </a:lnTo>
                <a:lnTo>
                  <a:pt x="2294791" y="1620220"/>
                </a:lnTo>
                <a:lnTo>
                  <a:pt x="2309657" y="1634808"/>
                </a:lnTo>
                <a:lnTo>
                  <a:pt x="2324523" y="1649362"/>
                </a:lnTo>
                <a:lnTo>
                  <a:pt x="2325978" y="1995714"/>
                </a:lnTo>
                <a:lnTo>
                  <a:pt x="2327434" y="2342065"/>
                </a:lnTo>
                <a:lnTo>
                  <a:pt x="2346146" y="2348094"/>
                </a:lnTo>
                <a:cubicBezTo>
                  <a:pt x="2374145" y="2357173"/>
                  <a:pt x="2421099" y="2402013"/>
                  <a:pt x="2436970" y="2434899"/>
                </a:cubicBezTo>
                <a:cubicBezTo>
                  <a:pt x="2470791" y="2504862"/>
                  <a:pt x="2454227" y="2588097"/>
                  <a:pt x="2396184" y="2640075"/>
                </a:cubicBezTo>
                <a:cubicBezTo>
                  <a:pt x="2370819" y="2662808"/>
                  <a:pt x="2354740" y="2671713"/>
                  <a:pt x="2321786" y="2681277"/>
                </a:cubicBezTo>
                <a:cubicBezTo>
                  <a:pt x="2286752" y="2691500"/>
                  <a:pt x="2257748" y="2691396"/>
                  <a:pt x="2223303" y="2681035"/>
                </a:cubicBezTo>
                <a:close/>
                <a:moveTo>
                  <a:pt x="2309831" y="2574062"/>
                </a:moveTo>
                <a:cubicBezTo>
                  <a:pt x="2360423" y="2543846"/>
                  <a:pt x="2360423" y="2478110"/>
                  <a:pt x="2309831" y="2447893"/>
                </a:cubicBezTo>
                <a:cubicBezTo>
                  <a:pt x="2247144" y="2410434"/>
                  <a:pt x="2170943" y="2485075"/>
                  <a:pt x="2209200" y="2546479"/>
                </a:cubicBezTo>
                <a:cubicBezTo>
                  <a:pt x="2222957" y="2568622"/>
                  <a:pt x="2249847" y="2584493"/>
                  <a:pt x="2273584" y="2584493"/>
                </a:cubicBezTo>
                <a:cubicBezTo>
                  <a:pt x="2283911" y="2584493"/>
                  <a:pt x="2300197" y="2579815"/>
                  <a:pt x="2309831" y="2574062"/>
                </a:cubicBezTo>
                <a:close/>
                <a:moveTo>
                  <a:pt x="1408763" y="2416394"/>
                </a:moveTo>
                <a:cubicBezTo>
                  <a:pt x="1459356" y="2386177"/>
                  <a:pt x="1459356" y="2320441"/>
                  <a:pt x="1408763" y="2290225"/>
                </a:cubicBezTo>
                <a:cubicBezTo>
                  <a:pt x="1346077" y="2252766"/>
                  <a:pt x="1269911" y="2327407"/>
                  <a:pt x="1308133" y="2388845"/>
                </a:cubicBezTo>
                <a:cubicBezTo>
                  <a:pt x="1321889" y="2410953"/>
                  <a:pt x="1348814" y="2426859"/>
                  <a:pt x="1372517" y="2426859"/>
                </a:cubicBezTo>
                <a:cubicBezTo>
                  <a:pt x="1382843" y="2426859"/>
                  <a:pt x="1399165" y="2422147"/>
                  <a:pt x="1408763" y="2416394"/>
                </a:cubicBezTo>
                <a:close/>
                <a:moveTo>
                  <a:pt x="1790875" y="1344352"/>
                </a:moveTo>
                <a:lnTo>
                  <a:pt x="1790875" y="934448"/>
                </a:lnTo>
                <a:lnTo>
                  <a:pt x="1372517" y="934448"/>
                </a:lnTo>
                <a:lnTo>
                  <a:pt x="954158" y="934448"/>
                </a:lnTo>
                <a:lnTo>
                  <a:pt x="954158" y="1344352"/>
                </a:lnTo>
                <a:lnTo>
                  <a:pt x="954158" y="1754256"/>
                </a:lnTo>
                <a:lnTo>
                  <a:pt x="1372517" y="1754256"/>
                </a:lnTo>
                <a:lnTo>
                  <a:pt x="1790875" y="1754256"/>
                </a:lnTo>
                <a:close/>
                <a:moveTo>
                  <a:pt x="1160652" y="1581201"/>
                </a:moveTo>
                <a:cubicBezTo>
                  <a:pt x="1154761" y="1578775"/>
                  <a:pt x="1145093" y="1571533"/>
                  <a:pt x="1139202" y="1565122"/>
                </a:cubicBezTo>
                <a:cubicBezTo>
                  <a:pt x="1128875" y="1553860"/>
                  <a:pt x="1128495" y="1546029"/>
                  <a:pt x="1128495" y="1343901"/>
                </a:cubicBezTo>
                <a:lnTo>
                  <a:pt x="1128495" y="1134393"/>
                </a:lnTo>
                <a:lnTo>
                  <a:pt x="1143360" y="1119804"/>
                </a:lnTo>
                <a:lnTo>
                  <a:pt x="1158226" y="1105250"/>
                </a:lnTo>
                <a:lnTo>
                  <a:pt x="1372517" y="1105250"/>
                </a:lnTo>
                <a:lnTo>
                  <a:pt x="1586807" y="1105250"/>
                </a:lnTo>
                <a:lnTo>
                  <a:pt x="1601673" y="1119804"/>
                </a:lnTo>
                <a:lnTo>
                  <a:pt x="1616539" y="1134393"/>
                </a:lnTo>
                <a:lnTo>
                  <a:pt x="1616539" y="1344352"/>
                </a:lnTo>
                <a:lnTo>
                  <a:pt x="1616539" y="1554311"/>
                </a:lnTo>
                <a:lnTo>
                  <a:pt x="1601673" y="1568865"/>
                </a:lnTo>
                <a:lnTo>
                  <a:pt x="1586807" y="1583454"/>
                </a:lnTo>
                <a:lnTo>
                  <a:pt x="1379101" y="1584528"/>
                </a:lnTo>
                <a:cubicBezTo>
                  <a:pt x="1264852" y="1585117"/>
                  <a:pt x="1166577" y="1583627"/>
                  <a:pt x="1160652" y="1581201"/>
                </a:cubicBezTo>
                <a:close/>
                <a:moveTo>
                  <a:pt x="1511958" y="1344352"/>
                </a:moveTo>
                <a:lnTo>
                  <a:pt x="1511958" y="1207717"/>
                </a:lnTo>
                <a:lnTo>
                  <a:pt x="1372517" y="1207717"/>
                </a:lnTo>
                <a:lnTo>
                  <a:pt x="1233075" y="1207717"/>
                </a:lnTo>
                <a:lnTo>
                  <a:pt x="1233075" y="1344352"/>
                </a:lnTo>
                <a:lnTo>
                  <a:pt x="1233075" y="1480987"/>
                </a:lnTo>
                <a:lnTo>
                  <a:pt x="1372517" y="1480987"/>
                </a:lnTo>
                <a:lnTo>
                  <a:pt x="1511958" y="1480987"/>
                </a:lnTo>
                <a:close/>
                <a:moveTo>
                  <a:pt x="378990" y="1407419"/>
                </a:moveTo>
                <a:cubicBezTo>
                  <a:pt x="429589" y="1377202"/>
                  <a:pt x="429589" y="1311467"/>
                  <a:pt x="378990" y="1281250"/>
                </a:cubicBezTo>
                <a:cubicBezTo>
                  <a:pt x="316294" y="1243791"/>
                  <a:pt x="240120" y="1318432"/>
                  <a:pt x="278346" y="1379871"/>
                </a:cubicBezTo>
                <a:cubicBezTo>
                  <a:pt x="292117" y="1401979"/>
                  <a:pt x="319024" y="1417884"/>
                  <a:pt x="342737" y="1417884"/>
                </a:cubicBezTo>
                <a:cubicBezTo>
                  <a:pt x="353063" y="1417884"/>
                  <a:pt x="369374" y="1413172"/>
                  <a:pt x="378990" y="1407419"/>
                </a:cubicBezTo>
                <a:close/>
                <a:moveTo>
                  <a:pt x="2438564" y="1407419"/>
                </a:moveTo>
                <a:cubicBezTo>
                  <a:pt x="2489156" y="1377202"/>
                  <a:pt x="2489156" y="1311467"/>
                  <a:pt x="2438564" y="1281250"/>
                </a:cubicBezTo>
                <a:cubicBezTo>
                  <a:pt x="2375843" y="1243791"/>
                  <a:pt x="2299677" y="1318432"/>
                  <a:pt x="2337899" y="1379871"/>
                </a:cubicBezTo>
                <a:cubicBezTo>
                  <a:pt x="2351690" y="1401979"/>
                  <a:pt x="2378581" y="1417884"/>
                  <a:pt x="2402283" y="1417884"/>
                </a:cubicBezTo>
                <a:cubicBezTo>
                  <a:pt x="2412609" y="1417884"/>
                  <a:pt x="2428931" y="1413172"/>
                  <a:pt x="2438564" y="1407419"/>
                </a:cubicBezTo>
                <a:close/>
                <a:moveTo>
                  <a:pt x="1408763" y="398444"/>
                </a:moveTo>
                <a:cubicBezTo>
                  <a:pt x="1459356" y="368228"/>
                  <a:pt x="1459356" y="302527"/>
                  <a:pt x="1408763" y="272275"/>
                </a:cubicBezTo>
                <a:cubicBezTo>
                  <a:pt x="1346077" y="234816"/>
                  <a:pt x="1269911" y="309457"/>
                  <a:pt x="1308133" y="370896"/>
                </a:cubicBezTo>
                <a:cubicBezTo>
                  <a:pt x="1321889" y="393004"/>
                  <a:pt x="1348814" y="408909"/>
                  <a:pt x="1372517" y="408909"/>
                </a:cubicBezTo>
                <a:cubicBezTo>
                  <a:pt x="1382843" y="408909"/>
                  <a:pt x="1399165" y="404197"/>
                  <a:pt x="1408763" y="398444"/>
                </a:cubicBezTo>
                <a:close/>
                <a:moveTo>
                  <a:pt x="507696" y="240811"/>
                </a:moveTo>
                <a:cubicBezTo>
                  <a:pt x="517330" y="235058"/>
                  <a:pt x="529978" y="222653"/>
                  <a:pt x="535834" y="213227"/>
                </a:cubicBezTo>
                <a:cubicBezTo>
                  <a:pt x="574090" y="151823"/>
                  <a:pt x="497889" y="77182"/>
                  <a:pt x="435203" y="114641"/>
                </a:cubicBezTo>
                <a:cubicBezTo>
                  <a:pt x="425604" y="120359"/>
                  <a:pt x="412922" y="132764"/>
                  <a:pt x="407066" y="142190"/>
                </a:cubicBezTo>
                <a:cubicBezTo>
                  <a:pt x="368844" y="203629"/>
                  <a:pt x="445010" y="278270"/>
                  <a:pt x="507696" y="240811"/>
                </a:cubicBezTo>
                <a:close/>
                <a:moveTo>
                  <a:pt x="131547" y="2397266"/>
                </a:moveTo>
                <a:cubicBezTo>
                  <a:pt x="43021" y="2370619"/>
                  <a:pt x="-14284" y="2281146"/>
                  <a:pt x="3625" y="2197495"/>
                </a:cubicBezTo>
                <a:cubicBezTo>
                  <a:pt x="20081" y="2120601"/>
                  <a:pt x="73238" y="2068657"/>
                  <a:pt x="152013" y="2052475"/>
                </a:cubicBezTo>
                <a:cubicBezTo>
                  <a:pt x="223425" y="2037816"/>
                  <a:pt x="307156" y="2079053"/>
                  <a:pt x="342397" y="2146244"/>
                </a:cubicBezTo>
                <a:cubicBezTo>
                  <a:pt x="394868" y="2246285"/>
                  <a:pt x="341753" y="2365005"/>
                  <a:pt x="229954" y="2397543"/>
                </a:cubicBezTo>
                <a:cubicBezTo>
                  <a:pt x="194999" y="2407696"/>
                  <a:pt x="165995" y="2407627"/>
                  <a:pt x="131547" y="2397266"/>
                </a:cubicBezTo>
                <a:close/>
                <a:moveTo>
                  <a:pt x="218089" y="2290294"/>
                </a:moveTo>
                <a:cubicBezTo>
                  <a:pt x="268685" y="2260042"/>
                  <a:pt x="268685" y="2194341"/>
                  <a:pt x="218089" y="2164090"/>
                </a:cubicBezTo>
                <a:cubicBezTo>
                  <a:pt x="155392" y="2126665"/>
                  <a:pt x="79219" y="2201272"/>
                  <a:pt x="117444" y="2262710"/>
                </a:cubicBezTo>
                <a:cubicBezTo>
                  <a:pt x="131215" y="2284854"/>
                  <a:pt x="158119" y="2300724"/>
                  <a:pt x="181835" y="2300724"/>
                </a:cubicBezTo>
                <a:cubicBezTo>
                  <a:pt x="192158" y="2300724"/>
                  <a:pt x="208472" y="2296012"/>
                  <a:pt x="218089" y="2290294"/>
                </a:cubicBezTo>
                <a:close/>
                <a:moveTo>
                  <a:pt x="470237" y="2271547"/>
                </a:moveTo>
                <a:cubicBezTo>
                  <a:pt x="451767" y="2261706"/>
                  <a:pt x="444629" y="2248676"/>
                  <a:pt x="444629" y="2224662"/>
                </a:cubicBezTo>
                <a:cubicBezTo>
                  <a:pt x="444629" y="2190460"/>
                  <a:pt x="481915" y="2166724"/>
                  <a:pt x="514696" y="2180030"/>
                </a:cubicBezTo>
                <a:cubicBezTo>
                  <a:pt x="535730" y="2188554"/>
                  <a:pt x="546541" y="2204217"/>
                  <a:pt x="546541" y="2226083"/>
                </a:cubicBezTo>
                <a:cubicBezTo>
                  <a:pt x="546541" y="2249162"/>
                  <a:pt x="538987" y="2262121"/>
                  <a:pt x="519824" y="2271824"/>
                </a:cubicBezTo>
                <a:cubicBezTo>
                  <a:pt x="500488" y="2281631"/>
                  <a:pt x="489053" y="2281562"/>
                  <a:pt x="470237" y="2271582"/>
                </a:cubicBezTo>
                <a:close/>
                <a:moveTo>
                  <a:pt x="2512928" y="631551"/>
                </a:moveTo>
                <a:cubicBezTo>
                  <a:pt x="2424392" y="604938"/>
                  <a:pt x="2367076" y="515431"/>
                  <a:pt x="2384991" y="431780"/>
                </a:cubicBezTo>
                <a:cubicBezTo>
                  <a:pt x="2401452" y="354921"/>
                  <a:pt x="2454608" y="302977"/>
                  <a:pt x="2533373" y="286794"/>
                </a:cubicBezTo>
                <a:cubicBezTo>
                  <a:pt x="2604792" y="272102"/>
                  <a:pt x="2688512" y="313338"/>
                  <a:pt x="2723754" y="380529"/>
                </a:cubicBezTo>
                <a:cubicBezTo>
                  <a:pt x="2776218" y="480605"/>
                  <a:pt x="2723130" y="599324"/>
                  <a:pt x="2611307" y="631829"/>
                </a:cubicBezTo>
                <a:cubicBezTo>
                  <a:pt x="2576377" y="642017"/>
                  <a:pt x="2547373" y="641912"/>
                  <a:pt x="2512928" y="631551"/>
                </a:cubicBezTo>
                <a:close/>
                <a:moveTo>
                  <a:pt x="2599455" y="524579"/>
                </a:moveTo>
                <a:cubicBezTo>
                  <a:pt x="2650048" y="494363"/>
                  <a:pt x="2650048" y="428627"/>
                  <a:pt x="2599455" y="398410"/>
                </a:cubicBezTo>
                <a:cubicBezTo>
                  <a:pt x="2536769" y="360950"/>
                  <a:pt x="2460568" y="435592"/>
                  <a:pt x="2498825" y="496996"/>
                </a:cubicBezTo>
                <a:cubicBezTo>
                  <a:pt x="2512582" y="519139"/>
                  <a:pt x="2539472" y="535010"/>
                  <a:pt x="2563209" y="535010"/>
                </a:cubicBezTo>
                <a:cubicBezTo>
                  <a:pt x="2573536" y="535010"/>
                  <a:pt x="2589822" y="530332"/>
                  <a:pt x="2599455" y="524579"/>
                </a:cubicBezTo>
                <a:close/>
                <a:moveTo>
                  <a:pt x="2224101" y="505867"/>
                </a:moveTo>
                <a:cubicBezTo>
                  <a:pt x="2205596" y="496026"/>
                  <a:pt x="2198492" y="482996"/>
                  <a:pt x="2198492" y="458983"/>
                </a:cubicBezTo>
                <a:cubicBezTo>
                  <a:pt x="2198492" y="424781"/>
                  <a:pt x="2235744" y="401009"/>
                  <a:pt x="2268525" y="414315"/>
                </a:cubicBezTo>
                <a:cubicBezTo>
                  <a:pt x="2289559" y="422874"/>
                  <a:pt x="2300405" y="438503"/>
                  <a:pt x="2300405" y="460368"/>
                </a:cubicBezTo>
                <a:cubicBezTo>
                  <a:pt x="2300405" y="483447"/>
                  <a:pt x="2292816" y="496407"/>
                  <a:pt x="2273688" y="506110"/>
                </a:cubicBezTo>
                <a:cubicBezTo>
                  <a:pt x="2254317" y="515916"/>
                  <a:pt x="2242917" y="515847"/>
                  <a:pt x="2224101" y="505867"/>
                </a:cubicBezTo>
                <a:close/>
              </a:path>
            </a:pathLst>
          </a:custGeom>
          <a:solidFill>
            <a:schemeClr val="bg1"/>
          </a:solidFill>
          <a:ln w="5303" cap="flat">
            <a:noFill/>
            <a:prstDash val="solid"/>
            <a:miter/>
          </a:ln>
        </p:spPr>
        <p:txBody>
          <a:bodyPr rtlCol="0" anchor="ctr"/>
          <a:lstStyle/>
          <a:p>
            <a:endParaRPr lang="en-IN"/>
          </a:p>
        </p:txBody>
      </p:sp>
    </p:spTree>
    <p:extLst>
      <p:ext uri="{BB962C8B-B14F-4D97-AF65-F5344CB8AC3E}">
        <p14:creationId xmlns:p14="http://schemas.microsoft.com/office/powerpoint/2010/main" val="27174017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D091-218A-9B49-B6B6-1482446BDAED}"/>
              </a:ext>
            </a:extLst>
          </p:cNvPr>
          <p:cNvSpPr>
            <a:spLocks noGrp="1"/>
          </p:cNvSpPr>
          <p:nvPr>
            <p:ph type="title"/>
          </p:nvPr>
        </p:nvSpPr>
        <p:spPr>
          <a:xfrm>
            <a:off x="417513" y="227576"/>
            <a:ext cx="8055278" cy="460800"/>
          </a:xfrm>
        </p:spPr>
        <p:txBody>
          <a:bodyPr/>
          <a:lstStyle/>
          <a:p>
            <a:r>
              <a:rPr lang="en-GB" sz="2400" dirty="0"/>
              <a:t>What are the </a:t>
            </a:r>
            <a:r>
              <a:rPr lang="en-GB" sz="2400" b="1" dirty="0"/>
              <a:t>chances</a:t>
            </a:r>
            <a:r>
              <a:rPr lang="en-GB" sz="2400" dirty="0"/>
              <a:t> your business will survive?</a:t>
            </a:r>
          </a:p>
        </p:txBody>
      </p:sp>
      <p:sp>
        <p:nvSpPr>
          <p:cNvPr id="3" name="Slide Number Placeholder 2">
            <a:extLst>
              <a:ext uri="{FF2B5EF4-FFF2-40B4-BE49-F238E27FC236}">
                <a16:creationId xmlns:a16="http://schemas.microsoft.com/office/drawing/2014/main" id="{65A9BBBC-F954-E54D-9D73-7D2BC3054F9C}"/>
              </a:ext>
            </a:extLst>
          </p:cNvPr>
          <p:cNvSpPr>
            <a:spLocks noGrp="1"/>
          </p:cNvSpPr>
          <p:nvPr>
            <p:ph type="sldNum" sz="quarter" idx="10"/>
          </p:nvPr>
        </p:nvSpPr>
        <p:spPr/>
        <p:txBody>
          <a:bodyPr/>
          <a:lstStyle/>
          <a:p>
            <a:fld id="{914292A2-C371-4A90-A5CC-38E01B82EA60}" type="slidenum">
              <a:rPr lang="de-DE" smtClean="0"/>
              <a:pPr/>
              <a:t>5</a:t>
            </a:fld>
            <a:endParaRPr lang="de-DE" dirty="0"/>
          </a:p>
        </p:txBody>
      </p:sp>
      <p:sp>
        <p:nvSpPr>
          <p:cNvPr id="5" name="Text Placeholder 4">
            <a:extLst>
              <a:ext uri="{FF2B5EF4-FFF2-40B4-BE49-F238E27FC236}">
                <a16:creationId xmlns:a16="http://schemas.microsoft.com/office/drawing/2014/main" id="{EC784578-3F49-324C-9B7E-3C8AB9DD7AEF}"/>
              </a:ext>
            </a:extLst>
          </p:cNvPr>
          <p:cNvSpPr>
            <a:spLocks noGrp="1"/>
          </p:cNvSpPr>
          <p:nvPr>
            <p:ph type="body" sz="quarter" idx="13"/>
          </p:nvPr>
        </p:nvSpPr>
        <p:spPr/>
        <p:txBody>
          <a:bodyPr>
            <a:normAutofit lnSpcReduction="10000"/>
          </a:bodyPr>
          <a:lstStyle/>
          <a:p>
            <a:r>
              <a:rPr lang="en-US" spc="100" dirty="0">
                <a:solidFill>
                  <a:schemeClr val="bg2">
                    <a:lumMod val="50000"/>
                  </a:schemeClr>
                </a:solidFill>
                <a:latin typeface="Poppins Medium" panose="00000600000000000000" pitchFamily="2" charset="0"/>
                <a:cs typeface="Poppins Medium" panose="00000600000000000000" pitchFamily="2" charset="0"/>
              </a:rPr>
              <a:t>Source goes here in Poppins Medium size 9</a:t>
            </a:r>
          </a:p>
        </p:txBody>
      </p:sp>
      <p:sp>
        <p:nvSpPr>
          <p:cNvPr id="96" name="Rectangle 95">
            <a:extLst>
              <a:ext uri="{FF2B5EF4-FFF2-40B4-BE49-F238E27FC236}">
                <a16:creationId xmlns:a16="http://schemas.microsoft.com/office/drawing/2014/main" id="{53253E34-FF43-40E4-9AD4-51EFD65FDABC}"/>
              </a:ext>
            </a:extLst>
          </p:cNvPr>
          <p:cNvSpPr>
            <a:spLocks/>
          </p:cNvSpPr>
          <p:nvPr/>
        </p:nvSpPr>
        <p:spPr>
          <a:xfrm>
            <a:off x="2992605" y="4425958"/>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defRPr/>
            </a:pPr>
            <a:r>
              <a:rPr lang="en-US" sz="2275" b="1" kern="0" dirty="0">
                <a:solidFill>
                  <a:srgbClr val="003F62"/>
                </a:solidFill>
              </a:rPr>
              <a:t>70%</a:t>
            </a:r>
          </a:p>
        </p:txBody>
      </p:sp>
      <p:sp>
        <p:nvSpPr>
          <p:cNvPr id="97" name="Rectangle 96">
            <a:extLst>
              <a:ext uri="{FF2B5EF4-FFF2-40B4-BE49-F238E27FC236}">
                <a16:creationId xmlns:a16="http://schemas.microsoft.com/office/drawing/2014/main" id="{B9EFB29D-774D-481F-BCEA-F8C6ABB63DC7}"/>
              </a:ext>
            </a:extLst>
          </p:cNvPr>
          <p:cNvSpPr>
            <a:spLocks/>
          </p:cNvSpPr>
          <p:nvPr/>
        </p:nvSpPr>
        <p:spPr>
          <a:xfrm>
            <a:off x="5722505" y="4430601"/>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defRPr/>
            </a:pPr>
            <a:r>
              <a:rPr lang="en-US" sz="2275" b="1" kern="0" dirty="0">
                <a:solidFill>
                  <a:srgbClr val="003F62"/>
                </a:solidFill>
              </a:rPr>
              <a:t>50%</a:t>
            </a:r>
          </a:p>
        </p:txBody>
      </p:sp>
      <p:sp>
        <p:nvSpPr>
          <p:cNvPr id="98" name="Rectangle 97">
            <a:extLst>
              <a:ext uri="{FF2B5EF4-FFF2-40B4-BE49-F238E27FC236}">
                <a16:creationId xmlns:a16="http://schemas.microsoft.com/office/drawing/2014/main" id="{BADCD83F-BF21-42E6-AB7D-638B80E5FD53}"/>
              </a:ext>
            </a:extLst>
          </p:cNvPr>
          <p:cNvSpPr>
            <a:spLocks/>
          </p:cNvSpPr>
          <p:nvPr/>
        </p:nvSpPr>
        <p:spPr>
          <a:xfrm>
            <a:off x="643104" y="4425958"/>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defRPr/>
            </a:pPr>
            <a:r>
              <a:rPr lang="en-US" sz="2275" b="1" kern="0" dirty="0">
                <a:solidFill>
                  <a:srgbClr val="003F62"/>
                </a:solidFill>
              </a:rPr>
              <a:t>80%</a:t>
            </a:r>
          </a:p>
        </p:txBody>
      </p:sp>
      <p:sp>
        <p:nvSpPr>
          <p:cNvPr id="99" name="Rectangle 98">
            <a:extLst>
              <a:ext uri="{FF2B5EF4-FFF2-40B4-BE49-F238E27FC236}">
                <a16:creationId xmlns:a16="http://schemas.microsoft.com/office/drawing/2014/main" id="{03513DE9-72C1-459D-89D0-534CEBEFA2D0}"/>
              </a:ext>
            </a:extLst>
          </p:cNvPr>
          <p:cNvSpPr>
            <a:spLocks/>
          </p:cNvSpPr>
          <p:nvPr/>
        </p:nvSpPr>
        <p:spPr>
          <a:xfrm>
            <a:off x="8158273" y="4425958"/>
            <a:ext cx="1104423" cy="579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eaLnBrk="1" fontAlgn="auto" hangingPunct="1">
              <a:spcBef>
                <a:spcPts val="0"/>
              </a:spcBef>
              <a:spcAft>
                <a:spcPts val="0"/>
              </a:spcAft>
              <a:defRPr/>
            </a:pPr>
            <a:r>
              <a:rPr lang="en-US" sz="2275" b="1" kern="0" dirty="0">
                <a:solidFill>
                  <a:srgbClr val="003F62"/>
                </a:solidFill>
              </a:rPr>
              <a:t>10%</a:t>
            </a:r>
          </a:p>
        </p:txBody>
      </p:sp>
      <p:sp>
        <p:nvSpPr>
          <p:cNvPr id="199" name="Rectangle: Rounded Corners 198">
            <a:extLst>
              <a:ext uri="{FF2B5EF4-FFF2-40B4-BE49-F238E27FC236}">
                <a16:creationId xmlns:a16="http://schemas.microsoft.com/office/drawing/2014/main" id="{5F5D30D3-62F3-4CAD-BD15-ED7C713090E5}"/>
              </a:ext>
            </a:extLst>
          </p:cNvPr>
          <p:cNvSpPr/>
          <p:nvPr/>
        </p:nvSpPr>
        <p:spPr>
          <a:xfrm>
            <a:off x="419142" y="4064561"/>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1" name="Rectangle: Rounded Corners 200">
            <a:extLst>
              <a:ext uri="{FF2B5EF4-FFF2-40B4-BE49-F238E27FC236}">
                <a16:creationId xmlns:a16="http://schemas.microsoft.com/office/drawing/2014/main" id="{F9AB2809-BCB5-47A0-89AF-4318C4A037E0}"/>
              </a:ext>
            </a:extLst>
          </p:cNvPr>
          <p:cNvSpPr/>
          <p:nvPr/>
        </p:nvSpPr>
        <p:spPr>
          <a:xfrm>
            <a:off x="1201108" y="4064561"/>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7" name="Rectangle: Rounded Corners 186">
            <a:extLst>
              <a:ext uri="{FF2B5EF4-FFF2-40B4-BE49-F238E27FC236}">
                <a16:creationId xmlns:a16="http://schemas.microsoft.com/office/drawing/2014/main" id="{AC9F6ACD-C467-4AE9-9DC0-6288E32FCCC0}"/>
              </a:ext>
            </a:extLst>
          </p:cNvPr>
          <p:cNvSpPr/>
          <p:nvPr/>
        </p:nvSpPr>
        <p:spPr>
          <a:xfrm>
            <a:off x="419142" y="2150897"/>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8" name="Rectangle: Rounded Corners 187">
            <a:extLst>
              <a:ext uri="{FF2B5EF4-FFF2-40B4-BE49-F238E27FC236}">
                <a16:creationId xmlns:a16="http://schemas.microsoft.com/office/drawing/2014/main" id="{D01E63B7-E425-4BC3-858B-362EF2DBB472}"/>
              </a:ext>
            </a:extLst>
          </p:cNvPr>
          <p:cNvSpPr/>
          <p:nvPr/>
        </p:nvSpPr>
        <p:spPr>
          <a:xfrm>
            <a:off x="419142" y="1831953"/>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89" name="Rectangle: Rounded Corners 188">
            <a:extLst>
              <a:ext uri="{FF2B5EF4-FFF2-40B4-BE49-F238E27FC236}">
                <a16:creationId xmlns:a16="http://schemas.microsoft.com/office/drawing/2014/main" id="{EC83D437-3E9D-4D0B-AD81-E86D12E8AB1D}"/>
              </a:ext>
            </a:extLst>
          </p:cNvPr>
          <p:cNvSpPr/>
          <p:nvPr/>
        </p:nvSpPr>
        <p:spPr>
          <a:xfrm>
            <a:off x="1202734" y="215089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0" name="Rectangle: Rounded Corners 189">
            <a:extLst>
              <a:ext uri="{FF2B5EF4-FFF2-40B4-BE49-F238E27FC236}">
                <a16:creationId xmlns:a16="http://schemas.microsoft.com/office/drawing/2014/main" id="{9ED12C0C-13A3-4B86-ABA5-D61F5C939B8B}"/>
              </a:ext>
            </a:extLst>
          </p:cNvPr>
          <p:cNvSpPr/>
          <p:nvPr/>
        </p:nvSpPr>
        <p:spPr>
          <a:xfrm>
            <a:off x="1202734" y="183195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1" name="Rectangle: Rounded Corners 190">
            <a:extLst>
              <a:ext uri="{FF2B5EF4-FFF2-40B4-BE49-F238E27FC236}">
                <a16:creationId xmlns:a16="http://schemas.microsoft.com/office/drawing/2014/main" id="{10D36809-A4C3-4BE2-920A-29145F695F1E}"/>
              </a:ext>
            </a:extLst>
          </p:cNvPr>
          <p:cNvSpPr/>
          <p:nvPr/>
        </p:nvSpPr>
        <p:spPr>
          <a:xfrm>
            <a:off x="419142" y="278878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2" name="Rectangle: Rounded Corners 191">
            <a:extLst>
              <a:ext uri="{FF2B5EF4-FFF2-40B4-BE49-F238E27FC236}">
                <a16:creationId xmlns:a16="http://schemas.microsoft.com/office/drawing/2014/main" id="{CD55C93D-97D0-4CCC-B965-2C5E2132E34A}"/>
              </a:ext>
            </a:extLst>
          </p:cNvPr>
          <p:cNvSpPr/>
          <p:nvPr/>
        </p:nvSpPr>
        <p:spPr>
          <a:xfrm>
            <a:off x="419142" y="246984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3" name="Rectangle: Rounded Corners 192">
            <a:extLst>
              <a:ext uri="{FF2B5EF4-FFF2-40B4-BE49-F238E27FC236}">
                <a16:creationId xmlns:a16="http://schemas.microsoft.com/office/drawing/2014/main" id="{82BBF4A7-D92B-49DD-AFEC-6ED0053C0CEC}"/>
              </a:ext>
            </a:extLst>
          </p:cNvPr>
          <p:cNvSpPr/>
          <p:nvPr/>
        </p:nvSpPr>
        <p:spPr>
          <a:xfrm>
            <a:off x="1202734" y="2788784"/>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4" name="Rectangle: Rounded Corners 193">
            <a:extLst>
              <a:ext uri="{FF2B5EF4-FFF2-40B4-BE49-F238E27FC236}">
                <a16:creationId xmlns:a16="http://schemas.microsoft.com/office/drawing/2014/main" id="{E83002B5-39B3-4DA1-926D-CE3D387667E0}"/>
              </a:ext>
            </a:extLst>
          </p:cNvPr>
          <p:cNvSpPr/>
          <p:nvPr/>
        </p:nvSpPr>
        <p:spPr>
          <a:xfrm>
            <a:off x="1202734" y="2469840"/>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5" name="Rectangle: Rounded Corners 194">
            <a:extLst>
              <a:ext uri="{FF2B5EF4-FFF2-40B4-BE49-F238E27FC236}">
                <a16:creationId xmlns:a16="http://schemas.microsoft.com/office/drawing/2014/main" id="{4D787697-DED6-40DE-B8E8-59D05B012161}"/>
              </a:ext>
            </a:extLst>
          </p:cNvPr>
          <p:cNvSpPr/>
          <p:nvPr/>
        </p:nvSpPr>
        <p:spPr>
          <a:xfrm>
            <a:off x="419142" y="3426675"/>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6" name="Rectangle: Rounded Corners 195">
            <a:extLst>
              <a:ext uri="{FF2B5EF4-FFF2-40B4-BE49-F238E27FC236}">
                <a16:creationId xmlns:a16="http://schemas.microsoft.com/office/drawing/2014/main" id="{98EEEE1F-C560-4932-81C6-2401BAFE8ED1}"/>
              </a:ext>
            </a:extLst>
          </p:cNvPr>
          <p:cNvSpPr/>
          <p:nvPr/>
        </p:nvSpPr>
        <p:spPr>
          <a:xfrm>
            <a:off x="419142" y="3107730"/>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7" name="Rectangle: Rounded Corners 196">
            <a:extLst>
              <a:ext uri="{FF2B5EF4-FFF2-40B4-BE49-F238E27FC236}">
                <a16:creationId xmlns:a16="http://schemas.microsoft.com/office/drawing/2014/main" id="{9D725FDB-D19A-4B5C-9513-B725C3F97F4C}"/>
              </a:ext>
            </a:extLst>
          </p:cNvPr>
          <p:cNvSpPr/>
          <p:nvPr/>
        </p:nvSpPr>
        <p:spPr>
          <a:xfrm>
            <a:off x="1202734" y="3426672"/>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198" name="Rectangle: Rounded Corners 197">
            <a:extLst>
              <a:ext uri="{FF2B5EF4-FFF2-40B4-BE49-F238E27FC236}">
                <a16:creationId xmlns:a16="http://schemas.microsoft.com/office/drawing/2014/main" id="{A967BC01-FA40-4FB6-992B-A398174149B9}"/>
              </a:ext>
            </a:extLst>
          </p:cNvPr>
          <p:cNvSpPr/>
          <p:nvPr/>
        </p:nvSpPr>
        <p:spPr>
          <a:xfrm>
            <a:off x="1202734" y="3107728"/>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0" name="Rectangle: Rounded Corners 199">
            <a:extLst>
              <a:ext uri="{FF2B5EF4-FFF2-40B4-BE49-F238E27FC236}">
                <a16:creationId xmlns:a16="http://schemas.microsoft.com/office/drawing/2014/main" id="{1B372DFF-AD4A-4694-A8F1-36309B520F2A}"/>
              </a:ext>
            </a:extLst>
          </p:cNvPr>
          <p:cNvSpPr/>
          <p:nvPr/>
        </p:nvSpPr>
        <p:spPr>
          <a:xfrm>
            <a:off x="419142" y="3745619"/>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2" name="Rectangle: Rounded Corners 201">
            <a:extLst>
              <a:ext uri="{FF2B5EF4-FFF2-40B4-BE49-F238E27FC236}">
                <a16:creationId xmlns:a16="http://schemas.microsoft.com/office/drawing/2014/main" id="{CC62C284-FD13-47CD-9B9C-277423A75681}"/>
              </a:ext>
            </a:extLst>
          </p:cNvPr>
          <p:cNvSpPr/>
          <p:nvPr/>
        </p:nvSpPr>
        <p:spPr>
          <a:xfrm>
            <a:off x="1202734" y="3745616"/>
            <a:ext cx="752600" cy="271417"/>
          </a:xfrm>
          <a:prstGeom prst="roundRect">
            <a:avLst/>
          </a:prstGeom>
          <a:solidFill>
            <a:srgbClr val="07AA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3" name="Rectangle: Rounded Corners 202">
            <a:extLst>
              <a:ext uri="{FF2B5EF4-FFF2-40B4-BE49-F238E27FC236}">
                <a16:creationId xmlns:a16="http://schemas.microsoft.com/office/drawing/2014/main" id="{979FC026-EFFC-4707-9C45-5BBD6F7918DE}"/>
              </a:ext>
            </a:extLst>
          </p:cNvPr>
          <p:cNvSpPr/>
          <p:nvPr/>
        </p:nvSpPr>
        <p:spPr>
          <a:xfrm>
            <a:off x="419142" y="151300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4" name="Rectangle: Rounded Corners 203">
            <a:extLst>
              <a:ext uri="{FF2B5EF4-FFF2-40B4-BE49-F238E27FC236}">
                <a16:creationId xmlns:a16="http://schemas.microsoft.com/office/drawing/2014/main" id="{9534FBEC-C0A7-4454-8197-ACE8C4F937E1}"/>
              </a:ext>
            </a:extLst>
          </p:cNvPr>
          <p:cNvSpPr/>
          <p:nvPr/>
        </p:nvSpPr>
        <p:spPr>
          <a:xfrm>
            <a:off x="419142" y="119406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5" name="Rectangle: Rounded Corners 204">
            <a:extLst>
              <a:ext uri="{FF2B5EF4-FFF2-40B4-BE49-F238E27FC236}">
                <a16:creationId xmlns:a16="http://schemas.microsoft.com/office/drawing/2014/main" id="{80309C96-5E9B-4FCE-9EF6-7E33B124DD05}"/>
              </a:ext>
            </a:extLst>
          </p:cNvPr>
          <p:cNvSpPr/>
          <p:nvPr/>
        </p:nvSpPr>
        <p:spPr>
          <a:xfrm>
            <a:off x="1199580" y="151300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06" name="Rectangle: Rounded Corners 205">
            <a:extLst>
              <a:ext uri="{FF2B5EF4-FFF2-40B4-BE49-F238E27FC236}">
                <a16:creationId xmlns:a16="http://schemas.microsoft.com/office/drawing/2014/main" id="{D67662DE-D8CE-46DC-BD8C-B005A1896B07}"/>
              </a:ext>
            </a:extLst>
          </p:cNvPr>
          <p:cNvSpPr/>
          <p:nvPr/>
        </p:nvSpPr>
        <p:spPr>
          <a:xfrm>
            <a:off x="1199580" y="119406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97" name="Rectangle: Rounded Corners 296">
            <a:extLst>
              <a:ext uri="{FF2B5EF4-FFF2-40B4-BE49-F238E27FC236}">
                <a16:creationId xmlns:a16="http://schemas.microsoft.com/office/drawing/2014/main" id="{526053A4-156B-438A-B5A0-3D831E1550B6}"/>
              </a:ext>
            </a:extLst>
          </p:cNvPr>
          <p:cNvSpPr/>
          <p:nvPr/>
        </p:nvSpPr>
        <p:spPr>
          <a:xfrm>
            <a:off x="2792217" y="4066660"/>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298" name="Rectangle: Rounded Corners 297">
            <a:extLst>
              <a:ext uri="{FF2B5EF4-FFF2-40B4-BE49-F238E27FC236}">
                <a16:creationId xmlns:a16="http://schemas.microsoft.com/office/drawing/2014/main" id="{237C8126-80A6-41CF-9767-060A4E366AA4}"/>
              </a:ext>
            </a:extLst>
          </p:cNvPr>
          <p:cNvSpPr/>
          <p:nvPr/>
        </p:nvSpPr>
        <p:spPr>
          <a:xfrm>
            <a:off x="3574183" y="4066660"/>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0" name="Rectangle: Rounded Corners 299">
            <a:extLst>
              <a:ext uri="{FF2B5EF4-FFF2-40B4-BE49-F238E27FC236}">
                <a16:creationId xmlns:a16="http://schemas.microsoft.com/office/drawing/2014/main" id="{EAF8064C-B9E3-416C-976E-C2E34BFC932B}"/>
              </a:ext>
            </a:extLst>
          </p:cNvPr>
          <p:cNvSpPr/>
          <p:nvPr/>
        </p:nvSpPr>
        <p:spPr>
          <a:xfrm>
            <a:off x="2792217" y="2152996"/>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1" name="Rectangle: Rounded Corners 300">
            <a:extLst>
              <a:ext uri="{FF2B5EF4-FFF2-40B4-BE49-F238E27FC236}">
                <a16:creationId xmlns:a16="http://schemas.microsoft.com/office/drawing/2014/main" id="{332FD2C4-BE27-4898-A77E-0713B26A52E2}"/>
              </a:ext>
            </a:extLst>
          </p:cNvPr>
          <p:cNvSpPr/>
          <p:nvPr/>
        </p:nvSpPr>
        <p:spPr>
          <a:xfrm>
            <a:off x="2792217" y="183405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2" name="Rectangle: Rounded Corners 301">
            <a:extLst>
              <a:ext uri="{FF2B5EF4-FFF2-40B4-BE49-F238E27FC236}">
                <a16:creationId xmlns:a16="http://schemas.microsoft.com/office/drawing/2014/main" id="{642336A3-63FC-4AA7-AC42-4130ED6057AB}"/>
              </a:ext>
            </a:extLst>
          </p:cNvPr>
          <p:cNvSpPr/>
          <p:nvPr/>
        </p:nvSpPr>
        <p:spPr>
          <a:xfrm>
            <a:off x="3575809" y="215299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3" name="Rectangle: Rounded Corners 302">
            <a:extLst>
              <a:ext uri="{FF2B5EF4-FFF2-40B4-BE49-F238E27FC236}">
                <a16:creationId xmlns:a16="http://schemas.microsoft.com/office/drawing/2014/main" id="{EB6C2749-28BB-4DF1-8F55-7B642A8167B1}"/>
              </a:ext>
            </a:extLst>
          </p:cNvPr>
          <p:cNvSpPr/>
          <p:nvPr/>
        </p:nvSpPr>
        <p:spPr>
          <a:xfrm>
            <a:off x="3575809" y="183405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4" name="Rectangle: Rounded Corners 303">
            <a:extLst>
              <a:ext uri="{FF2B5EF4-FFF2-40B4-BE49-F238E27FC236}">
                <a16:creationId xmlns:a16="http://schemas.microsoft.com/office/drawing/2014/main" id="{1878ADBD-E749-4919-AD9C-4F9F2250F305}"/>
              </a:ext>
            </a:extLst>
          </p:cNvPr>
          <p:cNvSpPr/>
          <p:nvPr/>
        </p:nvSpPr>
        <p:spPr>
          <a:xfrm>
            <a:off x="2792217" y="279088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5" name="Rectangle: Rounded Corners 304">
            <a:extLst>
              <a:ext uri="{FF2B5EF4-FFF2-40B4-BE49-F238E27FC236}">
                <a16:creationId xmlns:a16="http://schemas.microsoft.com/office/drawing/2014/main" id="{6669C795-1487-4C33-B426-D34EF2504E89}"/>
              </a:ext>
            </a:extLst>
          </p:cNvPr>
          <p:cNvSpPr/>
          <p:nvPr/>
        </p:nvSpPr>
        <p:spPr>
          <a:xfrm>
            <a:off x="2792217" y="2471941"/>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6" name="Rectangle: Rounded Corners 305">
            <a:extLst>
              <a:ext uri="{FF2B5EF4-FFF2-40B4-BE49-F238E27FC236}">
                <a16:creationId xmlns:a16="http://schemas.microsoft.com/office/drawing/2014/main" id="{F61AA437-5CE3-451A-9365-A3775AB49842}"/>
              </a:ext>
            </a:extLst>
          </p:cNvPr>
          <p:cNvSpPr/>
          <p:nvPr/>
        </p:nvSpPr>
        <p:spPr>
          <a:xfrm>
            <a:off x="3575809" y="2790883"/>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7" name="Rectangle: Rounded Corners 306">
            <a:extLst>
              <a:ext uri="{FF2B5EF4-FFF2-40B4-BE49-F238E27FC236}">
                <a16:creationId xmlns:a16="http://schemas.microsoft.com/office/drawing/2014/main" id="{52BD802C-B891-4474-82CE-92E4D6E27287}"/>
              </a:ext>
            </a:extLst>
          </p:cNvPr>
          <p:cNvSpPr/>
          <p:nvPr/>
        </p:nvSpPr>
        <p:spPr>
          <a:xfrm>
            <a:off x="3575809" y="2471939"/>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8" name="Rectangle: Rounded Corners 307">
            <a:extLst>
              <a:ext uri="{FF2B5EF4-FFF2-40B4-BE49-F238E27FC236}">
                <a16:creationId xmlns:a16="http://schemas.microsoft.com/office/drawing/2014/main" id="{ECFE4D27-A97F-474E-B148-60A2E565D25C}"/>
              </a:ext>
            </a:extLst>
          </p:cNvPr>
          <p:cNvSpPr/>
          <p:nvPr/>
        </p:nvSpPr>
        <p:spPr>
          <a:xfrm>
            <a:off x="2792217" y="3428774"/>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09" name="Rectangle: Rounded Corners 308">
            <a:extLst>
              <a:ext uri="{FF2B5EF4-FFF2-40B4-BE49-F238E27FC236}">
                <a16:creationId xmlns:a16="http://schemas.microsoft.com/office/drawing/2014/main" id="{EC9E4C5C-9C46-4DB1-A431-A13455665428}"/>
              </a:ext>
            </a:extLst>
          </p:cNvPr>
          <p:cNvSpPr/>
          <p:nvPr/>
        </p:nvSpPr>
        <p:spPr>
          <a:xfrm>
            <a:off x="2792217" y="3109829"/>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0" name="Rectangle: Rounded Corners 309">
            <a:extLst>
              <a:ext uri="{FF2B5EF4-FFF2-40B4-BE49-F238E27FC236}">
                <a16:creationId xmlns:a16="http://schemas.microsoft.com/office/drawing/2014/main" id="{11811214-928E-4160-B7AB-E678A30EF2D9}"/>
              </a:ext>
            </a:extLst>
          </p:cNvPr>
          <p:cNvSpPr/>
          <p:nvPr/>
        </p:nvSpPr>
        <p:spPr>
          <a:xfrm>
            <a:off x="3575809" y="3428771"/>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1" name="Rectangle: Rounded Corners 310">
            <a:extLst>
              <a:ext uri="{FF2B5EF4-FFF2-40B4-BE49-F238E27FC236}">
                <a16:creationId xmlns:a16="http://schemas.microsoft.com/office/drawing/2014/main" id="{FE304D92-4D03-47BD-9C80-4339EBFBB197}"/>
              </a:ext>
            </a:extLst>
          </p:cNvPr>
          <p:cNvSpPr/>
          <p:nvPr/>
        </p:nvSpPr>
        <p:spPr>
          <a:xfrm>
            <a:off x="3575809" y="3109827"/>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2" name="Rectangle: Rounded Corners 311">
            <a:extLst>
              <a:ext uri="{FF2B5EF4-FFF2-40B4-BE49-F238E27FC236}">
                <a16:creationId xmlns:a16="http://schemas.microsoft.com/office/drawing/2014/main" id="{B759C51E-B44C-404D-B230-7687BEC61251}"/>
              </a:ext>
            </a:extLst>
          </p:cNvPr>
          <p:cNvSpPr/>
          <p:nvPr/>
        </p:nvSpPr>
        <p:spPr>
          <a:xfrm>
            <a:off x="2792217" y="3747718"/>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3" name="Rectangle: Rounded Corners 312">
            <a:extLst>
              <a:ext uri="{FF2B5EF4-FFF2-40B4-BE49-F238E27FC236}">
                <a16:creationId xmlns:a16="http://schemas.microsoft.com/office/drawing/2014/main" id="{BCCDB7D8-CD79-4163-A75C-FC6A09E13215}"/>
              </a:ext>
            </a:extLst>
          </p:cNvPr>
          <p:cNvSpPr/>
          <p:nvPr/>
        </p:nvSpPr>
        <p:spPr>
          <a:xfrm>
            <a:off x="3575809" y="3747715"/>
            <a:ext cx="752600" cy="271417"/>
          </a:xfrm>
          <a:prstGeom prst="roundRect">
            <a:avLst/>
          </a:prstGeom>
          <a:solidFill>
            <a:srgbClr val="199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4" name="Rectangle: Rounded Corners 313">
            <a:extLst>
              <a:ext uri="{FF2B5EF4-FFF2-40B4-BE49-F238E27FC236}">
                <a16:creationId xmlns:a16="http://schemas.microsoft.com/office/drawing/2014/main" id="{D0D09C03-93CD-46E2-B19E-87DF8BEFAA52}"/>
              </a:ext>
            </a:extLst>
          </p:cNvPr>
          <p:cNvSpPr/>
          <p:nvPr/>
        </p:nvSpPr>
        <p:spPr>
          <a:xfrm>
            <a:off x="2792217" y="151510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5" name="Rectangle: Rounded Corners 314">
            <a:extLst>
              <a:ext uri="{FF2B5EF4-FFF2-40B4-BE49-F238E27FC236}">
                <a16:creationId xmlns:a16="http://schemas.microsoft.com/office/drawing/2014/main" id="{083E4D3B-B6F9-4A00-8154-7649456A1D07}"/>
              </a:ext>
            </a:extLst>
          </p:cNvPr>
          <p:cNvSpPr/>
          <p:nvPr/>
        </p:nvSpPr>
        <p:spPr>
          <a:xfrm>
            <a:off x="2792217" y="119616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6" name="Rectangle: Rounded Corners 315">
            <a:extLst>
              <a:ext uri="{FF2B5EF4-FFF2-40B4-BE49-F238E27FC236}">
                <a16:creationId xmlns:a16="http://schemas.microsoft.com/office/drawing/2014/main" id="{AB646642-F3C9-40C9-8B72-F1701E202F03}"/>
              </a:ext>
            </a:extLst>
          </p:cNvPr>
          <p:cNvSpPr/>
          <p:nvPr/>
        </p:nvSpPr>
        <p:spPr>
          <a:xfrm>
            <a:off x="3572655" y="151510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17" name="Rectangle: Rounded Corners 316">
            <a:extLst>
              <a:ext uri="{FF2B5EF4-FFF2-40B4-BE49-F238E27FC236}">
                <a16:creationId xmlns:a16="http://schemas.microsoft.com/office/drawing/2014/main" id="{EA0ACD6F-6B31-4054-AF08-E48940A4CA90}"/>
              </a:ext>
            </a:extLst>
          </p:cNvPr>
          <p:cNvSpPr/>
          <p:nvPr/>
        </p:nvSpPr>
        <p:spPr>
          <a:xfrm>
            <a:off x="3572655" y="119616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1" name="Rectangle: Rounded Corners 340">
            <a:extLst>
              <a:ext uri="{FF2B5EF4-FFF2-40B4-BE49-F238E27FC236}">
                <a16:creationId xmlns:a16="http://schemas.microsoft.com/office/drawing/2014/main" id="{BAED5D40-7741-4432-A0AB-2880CF7BF32E}"/>
              </a:ext>
            </a:extLst>
          </p:cNvPr>
          <p:cNvSpPr/>
          <p:nvPr/>
        </p:nvSpPr>
        <p:spPr>
          <a:xfrm>
            <a:off x="5442302" y="4063859"/>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2" name="Rectangle: Rounded Corners 341">
            <a:extLst>
              <a:ext uri="{FF2B5EF4-FFF2-40B4-BE49-F238E27FC236}">
                <a16:creationId xmlns:a16="http://schemas.microsoft.com/office/drawing/2014/main" id="{05557379-F4C7-4976-A36D-1BA0A1D84735}"/>
              </a:ext>
            </a:extLst>
          </p:cNvPr>
          <p:cNvSpPr/>
          <p:nvPr/>
        </p:nvSpPr>
        <p:spPr>
          <a:xfrm>
            <a:off x="6224268" y="4063859"/>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4" name="Rectangle: Rounded Corners 343">
            <a:extLst>
              <a:ext uri="{FF2B5EF4-FFF2-40B4-BE49-F238E27FC236}">
                <a16:creationId xmlns:a16="http://schemas.microsoft.com/office/drawing/2014/main" id="{A11DC11F-D30A-4664-BE49-B53519AB653C}"/>
              </a:ext>
            </a:extLst>
          </p:cNvPr>
          <p:cNvSpPr/>
          <p:nvPr/>
        </p:nvSpPr>
        <p:spPr>
          <a:xfrm>
            <a:off x="5442302" y="215019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5" name="Rectangle: Rounded Corners 344">
            <a:extLst>
              <a:ext uri="{FF2B5EF4-FFF2-40B4-BE49-F238E27FC236}">
                <a16:creationId xmlns:a16="http://schemas.microsoft.com/office/drawing/2014/main" id="{1B3A8575-0008-4927-A6EC-15DCE9DAFD53}"/>
              </a:ext>
            </a:extLst>
          </p:cNvPr>
          <p:cNvSpPr/>
          <p:nvPr/>
        </p:nvSpPr>
        <p:spPr>
          <a:xfrm>
            <a:off x="5442302" y="183125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6" name="Rectangle: Rounded Corners 345">
            <a:extLst>
              <a:ext uri="{FF2B5EF4-FFF2-40B4-BE49-F238E27FC236}">
                <a16:creationId xmlns:a16="http://schemas.microsoft.com/office/drawing/2014/main" id="{2CA0882E-2EA3-4732-A890-0C20515F62AC}"/>
              </a:ext>
            </a:extLst>
          </p:cNvPr>
          <p:cNvSpPr/>
          <p:nvPr/>
        </p:nvSpPr>
        <p:spPr>
          <a:xfrm>
            <a:off x="6225894" y="2150194"/>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7" name="Rectangle: Rounded Corners 346">
            <a:extLst>
              <a:ext uri="{FF2B5EF4-FFF2-40B4-BE49-F238E27FC236}">
                <a16:creationId xmlns:a16="http://schemas.microsoft.com/office/drawing/2014/main" id="{844E5403-0235-424C-AC5D-48D1739C4A3E}"/>
              </a:ext>
            </a:extLst>
          </p:cNvPr>
          <p:cNvSpPr/>
          <p:nvPr/>
        </p:nvSpPr>
        <p:spPr>
          <a:xfrm>
            <a:off x="6225894" y="183125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8" name="Rectangle: Rounded Corners 347">
            <a:extLst>
              <a:ext uri="{FF2B5EF4-FFF2-40B4-BE49-F238E27FC236}">
                <a16:creationId xmlns:a16="http://schemas.microsoft.com/office/drawing/2014/main" id="{93CE411C-0206-43EB-8F56-0D8D4F58A45B}"/>
              </a:ext>
            </a:extLst>
          </p:cNvPr>
          <p:cNvSpPr/>
          <p:nvPr/>
        </p:nvSpPr>
        <p:spPr>
          <a:xfrm>
            <a:off x="5442302" y="2788084"/>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49" name="Rectangle: Rounded Corners 348">
            <a:extLst>
              <a:ext uri="{FF2B5EF4-FFF2-40B4-BE49-F238E27FC236}">
                <a16:creationId xmlns:a16="http://schemas.microsoft.com/office/drawing/2014/main" id="{CE91B2AC-2F0D-4889-91C5-C2BCCC606604}"/>
              </a:ext>
            </a:extLst>
          </p:cNvPr>
          <p:cNvSpPr/>
          <p:nvPr/>
        </p:nvSpPr>
        <p:spPr>
          <a:xfrm>
            <a:off x="5442302" y="246914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0" name="Rectangle: Rounded Corners 349">
            <a:extLst>
              <a:ext uri="{FF2B5EF4-FFF2-40B4-BE49-F238E27FC236}">
                <a16:creationId xmlns:a16="http://schemas.microsoft.com/office/drawing/2014/main" id="{C7969FB2-C3A0-44A7-93FF-9F86DE4BCD38}"/>
              </a:ext>
            </a:extLst>
          </p:cNvPr>
          <p:cNvSpPr/>
          <p:nvPr/>
        </p:nvSpPr>
        <p:spPr>
          <a:xfrm>
            <a:off x="6225894" y="2788082"/>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1" name="Rectangle: Rounded Corners 350">
            <a:extLst>
              <a:ext uri="{FF2B5EF4-FFF2-40B4-BE49-F238E27FC236}">
                <a16:creationId xmlns:a16="http://schemas.microsoft.com/office/drawing/2014/main" id="{B7934131-63B1-4EEF-A6D6-2E2CBBBD06D5}"/>
              </a:ext>
            </a:extLst>
          </p:cNvPr>
          <p:cNvSpPr/>
          <p:nvPr/>
        </p:nvSpPr>
        <p:spPr>
          <a:xfrm>
            <a:off x="6225894" y="246913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2" name="Rectangle: Rounded Corners 351">
            <a:extLst>
              <a:ext uri="{FF2B5EF4-FFF2-40B4-BE49-F238E27FC236}">
                <a16:creationId xmlns:a16="http://schemas.microsoft.com/office/drawing/2014/main" id="{A42E1CE1-BE8D-490E-AF42-2CBD27D570F2}"/>
              </a:ext>
            </a:extLst>
          </p:cNvPr>
          <p:cNvSpPr/>
          <p:nvPr/>
        </p:nvSpPr>
        <p:spPr>
          <a:xfrm>
            <a:off x="5442302" y="3425973"/>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3" name="Rectangle: Rounded Corners 352">
            <a:extLst>
              <a:ext uri="{FF2B5EF4-FFF2-40B4-BE49-F238E27FC236}">
                <a16:creationId xmlns:a16="http://schemas.microsoft.com/office/drawing/2014/main" id="{D4AE1D15-E4C4-420D-9AB3-248E3B1A7F59}"/>
              </a:ext>
            </a:extLst>
          </p:cNvPr>
          <p:cNvSpPr/>
          <p:nvPr/>
        </p:nvSpPr>
        <p:spPr>
          <a:xfrm>
            <a:off x="5442302" y="3107028"/>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4" name="Rectangle: Rounded Corners 353">
            <a:extLst>
              <a:ext uri="{FF2B5EF4-FFF2-40B4-BE49-F238E27FC236}">
                <a16:creationId xmlns:a16="http://schemas.microsoft.com/office/drawing/2014/main" id="{FC300333-EAAF-43A5-99AD-8FEEEC8007EE}"/>
              </a:ext>
            </a:extLst>
          </p:cNvPr>
          <p:cNvSpPr/>
          <p:nvPr/>
        </p:nvSpPr>
        <p:spPr>
          <a:xfrm>
            <a:off x="6225894" y="3425970"/>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5" name="Rectangle: Rounded Corners 354">
            <a:extLst>
              <a:ext uri="{FF2B5EF4-FFF2-40B4-BE49-F238E27FC236}">
                <a16:creationId xmlns:a16="http://schemas.microsoft.com/office/drawing/2014/main" id="{048F353A-D950-407C-B0FC-52D04408CB92}"/>
              </a:ext>
            </a:extLst>
          </p:cNvPr>
          <p:cNvSpPr/>
          <p:nvPr/>
        </p:nvSpPr>
        <p:spPr>
          <a:xfrm>
            <a:off x="6225894" y="3107026"/>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6" name="Rectangle: Rounded Corners 355">
            <a:extLst>
              <a:ext uri="{FF2B5EF4-FFF2-40B4-BE49-F238E27FC236}">
                <a16:creationId xmlns:a16="http://schemas.microsoft.com/office/drawing/2014/main" id="{53DA4756-DCD7-4662-AB10-9D16A0AC25FC}"/>
              </a:ext>
            </a:extLst>
          </p:cNvPr>
          <p:cNvSpPr/>
          <p:nvPr/>
        </p:nvSpPr>
        <p:spPr>
          <a:xfrm>
            <a:off x="5442302" y="3744917"/>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7" name="Rectangle: Rounded Corners 356">
            <a:extLst>
              <a:ext uri="{FF2B5EF4-FFF2-40B4-BE49-F238E27FC236}">
                <a16:creationId xmlns:a16="http://schemas.microsoft.com/office/drawing/2014/main" id="{0E25D61A-BA93-48EA-B00B-A32BE592A12F}"/>
              </a:ext>
            </a:extLst>
          </p:cNvPr>
          <p:cNvSpPr/>
          <p:nvPr/>
        </p:nvSpPr>
        <p:spPr>
          <a:xfrm>
            <a:off x="6225894" y="3744914"/>
            <a:ext cx="752600" cy="271417"/>
          </a:xfrm>
          <a:prstGeom prst="roundRect">
            <a:avLst/>
          </a:prstGeom>
          <a:solidFill>
            <a:srgbClr val="0079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8" name="Rectangle: Rounded Corners 357">
            <a:extLst>
              <a:ext uri="{FF2B5EF4-FFF2-40B4-BE49-F238E27FC236}">
                <a16:creationId xmlns:a16="http://schemas.microsoft.com/office/drawing/2014/main" id="{5361175C-080A-47C8-A6BD-704AA1DD0A13}"/>
              </a:ext>
            </a:extLst>
          </p:cNvPr>
          <p:cNvSpPr/>
          <p:nvPr/>
        </p:nvSpPr>
        <p:spPr>
          <a:xfrm>
            <a:off x="5442302" y="151230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59" name="Rectangle: Rounded Corners 358">
            <a:extLst>
              <a:ext uri="{FF2B5EF4-FFF2-40B4-BE49-F238E27FC236}">
                <a16:creationId xmlns:a16="http://schemas.microsoft.com/office/drawing/2014/main" id="{4217CB9B-DA48-4B78-846A-38D109CEEC89}"/>
              </a:ext>
            </a:extLst>
          </p:cNvPr>
          <p:cNvSpPr/>
          <p:nvPr/>
        </p:nvSpPr>
        <p:spPr>
          <a:xfrm>
            <a:off x="5442302" y="119336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0" name="Rectangle: Rounded Corners 359">
            <a:extLst>
              <a:ext uri="{FF2B5EF4-FFF2-40B4-BE49-F238E27FC236}">
                <a16:creationId xmlns:a16="http://schemas.microsoft.com/office/drawing/2014/main" id="{A711CE99-3B46-4D47-B7D0-937BDA898C58}"/>
              </a:ext>
            </a:extLst>
          </p:cNvPr>
          <p:cNvSpPr/>
          <p:nvPr/>
        </p:nvSpPr>
        <p:spPr>
          <a:xfrm>
            <a:off x="6222740" y="1512306"/>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1" name="Rectangle: Rounded Corners 360">
            <a:extLst>
              <a:ext uri="{FF2B5EF4-FFF2-40B4-BE49-F238E27FC236}">
                <a16:creationId xmlns:a16="http://schemas.microsoft.com/office/drawing/2014/main" id="{9B72EE18-D43C-432A-BD13-9DAD74931049}"/>
              </a:ext>
            </a:extLst>
          </p:cNvPr>
          <p:cNvSpPr/>
          <p:nvPr/>
        </p:nvSpPr>
        <p:spPr>
          <a:xfrm>
            <a:off x="6222740" y="119336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3" name="Rectangle: Rounded Corners 362">
            <a:extLst>
              <a:ext uri="{FF2B5EF4-FFF2-40B4-BE49-F238E27FC236}">
                <a16:creationId xmlns:a16="http://schemas.microsoft.com/office/drawing/2014/main" id="{B6709388-CBA2-4C0C-8E3A-5E969DED0A2C}"/>
              </a:ext>
            </a:extLst>
          </p:cNvPr>
          <p:cNvSpPr/>
          <p:nvPr/>
        </p:nvSpPr>
        <p:spPr>
          <a:xfrm>
            <a:off x="7957885" y="4065264"/>
            <a:ext cx="752600" cy="271417"/>
          </a:xfrm>
          <a:prstGeom prst="roundRect">
            <a:avLst/>
          </a:prstGeom>
          <a:solidFill>
            <a:srgbClr val="03556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4" name="Rectangle: Rounded Corners 363">
            <a:extLst>
              <a:ext uri="{FF2B5EF4-FFF2-40B4-BE49-F238E27FC236}">
                <a16:creationId xmlns:a16="http://schemas.microsoft.com/office/drawing/2014/main" id="{4F76D590-A016-4619-92B5-584E0B9AB0EE}"/>
              </a:ext>
            </a:extLst>
          </p:cNvPr>
          <p:cNvSpPr/>
          <p:nvPr/>
        </p:nvSpPr>
        <p:spPr>
          <a:xfrm>
            <a:off x="8739851" y="4065264"/>
            <a:ext cx="752600" cy="271417"/>
          </a:xfrm>
          <a:prstGeom prst="roundRect">
            <a:avLst/>
          </a:prstGeom>
          <a:solidFill>
            <a:srgbClr val="03556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6" name="Rectangle: Rounded Corners 365">
            <a:extLst>
              <a:ext uri="{FF2B5EF4-FFF2-40B4-BE49-F238E27FC236}">
                <a16:creationId xmlns:a16="http://schemas.microsoft.com/office/drawing/2014/main" id="{7243C451-3314-44AB-BE31-6DA7679980D8}"/>
              </a:ext>
            </a:extLst>
          </p:cNvPr>
          <p:cNvSpPr/>
          <p:nvPr/>
        </p:nvSpPr>
        <p:spPr>
          <a:xfrm>
            <a:off x="7957885" y="2151600"/>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7" name="Rectangle: Rounded Corners 366">
            <a:extLst>
              <a:ext uri="{FF2B5EF4-FFF2-40B4-BE49-F238E27FC236}">
                <a16:creationId xmlns:a16="http://schemas.microsoft.com/office/drawing/2014/main" id="{57DBA2CF-6C27-460E-865E-AF7042C10750}"/>
              </a:ext>
            </a:extLst>
          </p:cNvPr>
          <p:cNvSpPr/>
          <p:nvPr/>
        </p:nvSpPr>
        <p:spPr>
          <a:xfrm>
            <a:off x="7957885" y="1832656"/>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8" name="Rectangle: Rounded Corners 367">
            <a:extLst>
              <a:ext uri="{FF2B5EF4-FFF2-40B4-BE49-F238E27FC236}">
                <a16:creationId xmlns:a16="http://schemas.microsoft.com/office/drawing/2014/main" id="{1A8E55E9-8F5B-401C-96D7-8710380187B5}"/>
              </a:ext>
            </a:extLst>
          </p:cNvPr>
          <p:cNvSpPr/>
          <p:nvPr/>
        </p:nvSpPr>
        <p:spPr>
          <a:xfrm>
            <a:off x="8741477" y="215159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69" name="Rectangle: Rounded Corners 368">
            <a:extLst>
              <a:ext uri="{FF2B5EF4-FFF2-40B4-BE49-F238E27FC236}">
                <a16:creationId xmlns:a16="http://schemas.microsoft.com/office/drawing/2014/main" id="{F469B3F9-AB9E-47C7-A7B2-0532E80AF16C}"/>
              </a:ext>
            </a:extLst>
          </p:cNvPr>
          <p:cNvSpPr/>
          <p:nvPr/>
        </p:nvSpPr>
        <p:spPr>
          <a:xfrm>
            <a:off x="8741477" y="183265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0" name="Rectangle: Rounded Corners 369">
            <a:extLst>
              <a:ext uri="{FF2B5EF4-FFF2-40B4-BE49-F238E27FC236}">
                <a16:creationId xmlns:a16="http://schemas.microsoft.com/office/drawing/2014/main" id="{91ACB417-0F84-471D-A985-C2CCF77BD522}"/>
              </a:ext>
            </a:extLst>
          </p:cNvPr>
          <p:cNvSpPr/>
          <p:nvPr/>
        </p:nvSpPr>
        <p:spPr>
          <a:xfrm>
            <a:off x="7957885" y="278948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1" name="Rectangle: Rounded Corners 370">
            <a:extLst>
              <a:ext uri="{FF2B5EF4-FFF2-40B4-BE49-F238E27FC236}">
                <a16:creationId xmlns:a16="http://schemas.microsoft.com/office/drawing/2014/main" id="{EC31C98F-1990-43EA-90BE-F663A527239D}"/>
              </a:ext>
            </a:extLst>
          </p:cNvPr>
          <p:cNvSpPr/>
          <p:nvPr/>
        </p:nvSpPr>
        <p:spPr>
          <a:xfrm>
            <a:off x="7957885" y="247054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2" name="Rectangle: Rounded Corners 371">
            <a:extLst>
              <a:ext uri="{FF2B5EF4-FFF2-40B4-BE49-F238E27FC236}">
                <a16:creationId xmlns:a16="http://schemas.microsoft.com/office/drawing/2014/main" id="{AF39F5EC-CE8C-453E-9E29-E4FCC68D22E4}"/>
              </a:ext>
            </a:extLst>
          </p:cNvPr>
          <p:cNvSpPr/>
          <p:nvPr/>
        </p:nvSpPr>
        <p:spPr>
          <a:xfrm>
            <a:off x="8741477" y="278948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3" name="Rectangle: Rounded Corners 372">
            <a:extLst>
              <a:ext uri="{FF2B5EF4-FFF2-40B4-BE49-F238E27FC236}">
                <a16:creationId xmlns:a16="http://schemas.microsoft.com/office/drawing/2014/main" id="{691F4519-D620-45BD-BA64-DBAD3C321F97}"/>
              </a:ext>
            </a:extLst>
          </p:cNvPr>
          <p:cNvSpPr/>
          <p:nvPr/>
        </p:nvSpPr>
        <p:spPr>
          <a:xfrm>
            <a:off x="8741477" y="247054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4" name="Rectangle: Rounded Corners 373">
            <a:extLst>
              <a:ext uri="{FF2B5EF4-FFF2-40B4-BE49-F238E27FC236}">
                <a16:creationId xmlns:a16="http://schemas.microsoft.com/office/drawing/2014/main" id="{7937C8C8-C0C2-4ECB-AA88-0B2B068313CE}"/>
              </a:ext>
            </a:extLst>
          </p:cNvPr>
          <p:cNvSpPr/>
          <p:nvPr/>
        </p:nvSpPr>
        <p:spPr>
          <a:xfrm>
            <a:off x="7957885" y="3427378"/>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5" name="Rectangle: Rounded Corners 374">
            <a:extLst>
              <a:ext uri="{FF2B5EF4-FFF2-40B4-BE49-F238E27FC236}">
                <a16:creationId xmlns:a16="http://schemas.microsoft.com/office/drawing/2014/main" id="{75F22210-CA97-40FD-BEF5-4B2D82BB88B8}"/>
              </a:ext>
            </a:extLst>
          </p:cNvPr>
          <p:cNvSpPr/>
          <p:nvPr/>
        </p:nvSpPr>
        <p:spPr>
          <a:xfrm>
            <a:off x="7957885" y="3108433"/>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6" name="Rectangle: Rounded Corners 375">
            <a:extLst>
              <a:ext uri="{FF2B5EF4-FFF2-40B4-BE49-F238E27FC236}">
                <a16:creationId xmlns:a16="http://schemas.microsoft.com/office/drawing/2014/main" id="{D0BC8931-D8EA-4691-AA03-AB18681AC0F3}"/>
              </a:ext>
            </a:extLst>
          </p:cNvPr>
          <p:cNvSpPr/>
          <p:nvPr/>
        </p:nvSpPr>
        <p:spPr>
          <a:xfrm>
            <a:off x="8741477" y="3427375"/>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7" name="Rectangle: Rounded Corners 376">
            <a:extLst>
              <a:ext uri="{FF2B5EF4-FFF2-40B4-BE49-F238E27FC236}">
                <a16:creationId xmlns:a16="http://schemas.microsoft.com/office/drawing/2014/main" id="{26B9E1DB-819B-467D-9B18-9ACF5C982FD6}"/>
              </a:ext>
            </a:extLst>
          </p:cNvPr>
          <p:cNvSpPr/>
          <p:nvPr/>
        </p:nvSpPr>
        <p:spPr>
          <a:xfrm>
            <a:off x="8741477" y="310843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8" name="Rectangle: Rounded Corners 377">
            <a:extLst>
              <a:ext uri="{FF2B5EF4-FFF2-40B4-BE49-F238E27FC236}">
                <a16:creationId xmlns:a16="http://schemas.microsoft.com/office/drawing/2014/main" id="{DF7D39F0-4C77-40E8-996C-F35174AA409E}"/>
              </a:ext>
            </a:extLst>
          </p:cNvPr>
          <p:cNvSpPr/>
          <p:nvPr/>
        </p:nvSpPr>
        <p:spPr>
          <a:xfrm>
            <a:off x="7957885" y="374632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79" name="Rectangle: Rounded Corners 378">
            <a:extLst>
              <a:ext uri="{FF2B5EF4-FFF2-40B4-BE49-F238E27FC236}">
                <a16:creationId xmlns:a16="http://schemas.microsoft.com/office/drawing/2014/main" id="{48D29E0E-20B3-4905-9E20-5E8B50E1562F}"/>
              </a:ext>
            </a:extLst>
          </p:cNvPr>
          <p:cNvSpPr/>
          <p:nvPr/>
        </p:nvSpPr>
        <p:spPr>
          <a:xfrm>
            <a:off x="8741477" y="3746319"/>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0" name="Rectangle: Rounded Corners 379">
            <a:extLst>
              <a:ext uri="{FF2B5EF4-FFF2-40B4-BE49-F238E27FC236}">
                <a16:creationId xmlns:a16="http://schemas.microsoft.com/office/drawing/2014/main" id="{21C88778-159C-4BCB-99EA-4A12BEF0BC35}"/>
              </a:ext>
            </a:extLst>
          </p:cNvPr>
          <p:cNvSpPr/>
          <p:nvPr/>
        </p:nvSpPr>
        <p:spPr>
          <a:xfrm>
            <a:off x="7957885" y="1513712"/>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1" name="Rectangle: Rounded Corners 380">
            <a:extLst>
              <a:ext uri="{FF2B5EF4-FFF2-40B4-BE49-F238E27FC236}">
                <a16:creationId xmlns:a16="http://schemas.microsoft.com/office/drawing/2014/main" id="{10D21331-3C63-4225-9D57-D32F7F2EA363}"/>
              </a:ext>
            </a:extLst>
          </p:cNvPr>
          <p:cNvSpPr/>
          <p:nvPr/>
        </p:nvSpPr>
        <p:spPr>
          <a:xfrm>
            <a:off x="7957885" y="119476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2" name="Rectangle: Rounded Corners 381">
            <a:extLst>
              <a:ext uri="{FF2B5EF4-FFF2-40B4-BE49-F238E27FC236}">
                <a16:creationId xmlns:a16="http://schemas.microsoft.com/office/drawing/2014/main" id="{DE8FB4DF-892A-468C-B9BF-5062F49B54A5}"/>
              </a:ext>
            </a:extLst>
          </p:cNvPr>
          <p:cNvSpPr/>
          <p:nvPr/>
        </p:nvSpPr>
        <p:spPr>
          <a:xfrm>
            <a:off x="8738323" y="1513711"/>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83" name="Rectangle: Rounded Corners 382">
            <a:extLst>
              <a:ext uri="{FF2B5EF4-FFF2-40B4-BE49-F238E27FC236}">
                <a16:creationId xmlns:a16="http://schemas.microsoft.com/office/drawing/2014/main" id="{83FB444D-7EEF-43B5-A481-D5CD55A08D44}"/>
              </a:ext>
            </a:extLst>
          </p:cNvPr>
          <p:cNvSpPr/>
          <p:nvPr/>
        </p:nvSpPr>
        <p:spPr>
          <a:xfrm>
            <a:off x="8738323" y="1194767"/>
            <a:ext cx="752600" cy="271417"/>
          </a:xfrm>
          <a:prstGeom prst="round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noAutofit/>
            <a:scene3d>
              <a:camera prst="orthographicFront">
                <a:rot lat="0" lon="0" rev="0"/>
              </a:camera>
              <a:lightRig rig="threePt" dir="t"/>
            </a:scene3d>
            <a:sp3d/>
          </a:bodyPr>
          <a:lstStyle/>
          <a:p>
            <a:pPr defTabSz="742950" eaLnBrk="1" fontAlgn="auto" hangingPunct="1">
              <a:spcBef>
                <a:spcPts val="0"/>
              </a:spcBef>
              <a:spcAft>
                <a:spcPts val="0"/>
              </a:spcAft>
              <a:defRPr/>
            </a:pPr>
            <a:endParaRPr lang="en-US" sz="1463" kern="0" dirty="0">
              <a:solidFill>
                <a:prstClr val="black"/>
              </a:solidFill>
              <a:effectLst>
                <a:glow>
                  <a:scrgbClr r="0" g="0" b="0"/>
                </a:glow>
              </a:effectLst>
              <a:latin typeface="Calibri"/>
            </a:endParaRPr>
          </a:p>
        </p:txBody>
      </p:sp>
      <p:sp>
        <p:nvSpPr>
          <p:cNvPr id="390" name="Rectangle 389">
            <a:extLst>
              <a:ext uri="{FF2B5EF4-FFF2-40B4-BE49-F238E27FC236}">
                <a16:creationId xmlns:a16="http://schemas.microsoft.com/office/drawing/2014/main" id="{8A12DDFA-97E8-4CBE-9F1F-41869D64A0D2}"/>
              </a:ext>
            </a:extLst>
          </p:cNvPr>
          <p:cNvSpPr/>
          <p:nvPr/>
        </p:nvSpPr>
        <p:spPr bwMode="auto">
          <a:xfrm>
            <a:off x="423346" y="4911681"/>
            <a:ext cx="2088777" cy="1371600"/>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latin typeface="+mn-lt"/>
            </a:endParaRPr>
          </a:p>
        </p:txBody>
      </p:sp>
      <p:sp>
        <p:nvSpPr>
          <p:cNvPr id="391" name="Rectangle 390">
            <a:extLst>
              <a:ext uri="{FF2B5EF4-FFF2-40B4-BE49-F238E27FC236}">
                <a16:creationId xmlns:a16="http://schemas.microsoft.com/office/drawing/2014/main" id="{3D60134E-BE0C-4936-9E02-7DC738CCC434}"/>
              </a:ext>
            </a:extLst>
          </p:cNvPr>
          <p:cNvSpPr/>
          <p:nvPr/>
        </p:nvSpPr>
        <p:spPr bwMode="auto">
          <a:xfrm>
            <a:off x="2761883" y="4913585"/>
            <a:ext cx="2088777" cy="1371600"/>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latin typeface="+mn-lt"/>
            </a:endParaRPr>
          </a:p>
        </p:txBody>
      </p:sp>
      <p:sp>
        <p:nvSpPr>
          <p:cNvPr id="392" name="Rectangle 391">
            <a:extLst>
              <a:ext uri="{FF2B5EF4-FFF2-40B4-BE49-F238E27FC236}">
                <a16:creationId xmlns:a16="http://schemas.microsoft.com/office/drawing/2014/main" id="{5E7BBB40-0E7F-4FF6-80DE-F0D9B8080E90}"/>
              </a:ext>
            </a:extLst>
          </p:cNvPr>
          <p:cNvSpPr/>
          <p:nvPr/>
        </p:nvSpPr>
        <p:spPr bwMode="auto">
          <a:xfrm>
            <a:off x="5083495" y="4911670"/>
            <a:ext cx="2088777" cy="1371600"/>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latin typeface="+mn-lt"/>
            </a:endParaRPr>
          </a:p>
        </p:txBody>
      </p:sp>
      <p:sp>
        <p:nvSpPr>
          <p:cNvPr id="393" name="Rectangle 392">
            <a:extLst>
              <a:ext uri="{FF2B5EF4-FFF2-40B4-BE49-F238E27FC236}">
                <a16:creationId xmlns:a16="http://schemas.microsoft.com/office/drawing/2014/main" id="{BF00CCF8-1B1F-40C2-AA88-F1AC447406CB}"/>
              </a:ext>
            </a:extLst>
          </p:cNvPr>
          <p:cNvSpPr/>
          <p:nvPr/>
        </p:nvSpPr>
        <p:spPr bwMode="auto">
          <a:xfrm>
            <a:off x="7397014" y="4913364"/>
            <a:ext cx="2088777" cy="1371600"/>
          </a:xfrm>
          <a:prstGeom prst="rect">
            <a:avLst/>
          </a:prstGeom>
          <a:solidFill>
            <a:srgbClr val="F2F2F2"/>
          </a:solidFill>
          <a:ln w="12700">
            <a:solidFill>
              <a:srgbClr val="003F62"/>
            </a:solidFill>
            <a:round/>
            <a:headEnd/>
            <a:tailEnd/>
          </a:ln>
        </p:spPr>
        <p:txBody>
          <a:bodyPr wrap="square" lIns="0" tIns="0" rIns="0" bIns="0" rtlCol="0" anchor="ctr">
            <a:noAutofit/>
          </a:bodyPr>
          <a:lstStyle/>
          <a:p>
            <a:pPr algn="l"/>
            <a:endParaRPr lang="en-IN" dirty="0">
              <a:solidFill>
                <a:schemeClr val="tx2"/>
              </a:solidFill>
              <a:latin typeface="+mn-lt"/>
            </a:endParaRPr>
          </a:p>
        </p:txBody>
      </p:sp>
      <p:sp>
        <p:nvSpPr>
          <p:cNvPr id="389" name="TextBox 388">
            <a:extLst>
              <a:ext uri="{FF2B5EF4-FFF2-40B4-BE49-F238E27FC236}">
                <a16:creationId xmlns:a16="http://schemas.microsoft.com/office/drawing/2014/main" id="{8DC473EA-9C89-419F-9678-E892CEF8E204}"/>
              </a:ext>
            </a:extLst>
          </p:cNvPr>
          <p:cNvSpPr txBox="1"/>
          <p:nvPr/>
        </p:nvSpPr>
        <p:spPr>
          <a:xfrm>
            <a:off x="392780" y="4857801"/>
            <a:ext cx="2033715" cy="1446550"/>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80% of businesses with employees will survive their first year in business</a:t>
            </a:r>
            <a:r>
              <a:rPr lang="en-US" sz="1400" kern="0" dirty="0">
                <a:solidFill>
                  <a:prstClr val="black">
                    <a:lumMod val="50000"/>
                    <a:lumOff val="50000"/>
                  </a:prstClr>
                </a:solidFill>
                <a:latin typeface="+mn-lt"/>
              </a:rPr>
              <a:t>.</a:t>
            </a:r>
          </a:p>
        </p:txBody>
      </p:sp>
      <p:sp>
        <p:nvSpPr>
          <p:cNvPr id="101" name="TextBox 100">
            <a:extLst>
              <a:ext uri="{FF2B5EF4-FFF2-40B4-BE49-F238E27FC236}">
                <a16:creationId xmlns:a16="http://schemas.microsoft.com/office/drawing/2014/main" id="{F11F92BD-907D-4CA3-A324-50EE7D11488B}"/>
              </a:ext>
            </a:extLst>
          </p:cNvPr>
          <p:cNvSpPr txBox="1"/>
          <p:nvPr/>
        </p:nvSpPr>
        <p:spPr>
          <a:xfrm>
            <a:off x="2676956" y="4849279"/>
            <a:ext cx="2290122" cy="1661993"/>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70% of businesses with employees will survive their second year in business</a:t>
            </a:r>
            <a:r>
              <a:rPr lang="en-US" sz="1400" kern="0" dirty="0">
                <a:solidFill>
                  <a:prstClr val="black">
                    <a:lumMod val="50000"/>
                    <a:lumOff val="50000"/>
                  </a:prstClr>
                </a:solidFill>
                <a:latin typeface="+mn-lt"/>
              </a:rPr>
              <a:t>.</a:t>
            </a:r>
          </a:p>
        </p:txBody>
      </p:sp>
      <p:sp>
        <p:nvSpPr>
          <p:cNvPr id="102" name="TextBox 101">
            <a:extLst>
              <a:ext uri="{FF2B5EF4-FFF2-40B4-BE49-F238E27FC236}">
                <a16:creationId xmlns:a16="http://schemas.microsoft.com/office/drawing/2014/main" id="{B252510B-0970-4574-861B-E931F5C38786}"/>
              </a:ext>
            </a:extLst>
          </p:cNvPr>
          <p:cNvSpPr txBox="1"/>
          <p:nvPr/>
        </p:nvSpPr>
        <p:spPr>
          <a:xfrm>
            <a:off x="5013806" y="4857801"/>
            <a:ext cx="2088778" cy="1446550"/>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50% of businesses with employees will survive their fifth year in business.</a:t>
            </a:r>
          </a:p>
        </p:txBody>
      </p:sp>
      <p:sp>
        <p:nvSpPr>
          <p:cNvPr id="100" name="TextBox 99">
            <a:extLst>
              <a:ext uri="{FF2B5EF4-FFF2-40B4-BE49-F238E27FC236}">
                <a16:creationId xmlns:a16="http://schemas.microsoft.com/office/drawing/2014/main" id="{D5DFB2F1-A712-463D-9F5E-370601FFCEAA}"/>
              </a:ext>
            </a:extLst>
          </p:cNvPr>
          <p:cNvSpPr txBox="1"/>
          <p:nvPr/>
        </p:nvSpPr>
        <p:spPr>
          <a:xfrm>
            <a:off x="7327326" y="4849780"/>
            <a:ext cx="1995395" cy="1231106"/>
          </a:xfrm>
          <a:prstGeom prst="rect">
            <a:avLst/>
          </a:prstGeom>
          <a:noFill/>
        </p:spPr>
        <p:txBody>
          <a:bodyPr wrap="square" lIns="182880" tIns="182880" rIns="182880" bIns="182880" rtlCol="0">
            <a:noAutofit/>
          </a:bodyPr>
          <a:lstStyle/>
          <a:p>
            <a:pPr lvl="0" algn="l">
              <a:defRPr/>
            </a:pPr>
            <a:r>
              <a:rPr lang="en-US" sz="1400" kern="0" dirty="0">
                <a:solidFill>
                  <a:srgbClr val="003F62"/>
                </a:solidFill>
                <a:latin typeface="+mn-lt"/>
              </a:rPr>
              <a:t>About 10% of businesses will survive their 10th year in business</a:t>
            </a:r>
          </a:p>
        </p:txBody>
      </p:sp>
    </p:spTree>
    <p:extLst>
      <p:ext uri="{BB962C8B-B14F-4D97-AF65-F5344CB8AC3E}">
        <p14:creationId xmlns:p14="http://schemas.microsoft.com/office/powerpoint/2010/main" val="8052253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Yb4KbzKR0u0m7y4YTfCow"/>
</p:tagLst>
</file>

<file path=ppt/theme/theme1.xml><?xml version="1.0" encoding="utf-8"?>
<a:theme xmlns:a="http://schemas.openxmlformats.org/drawingml/2006/main" name="2010_Basis presentation UK">
  <a:themeElements>
    <a:clrScheme name="Nordic Consulting">
      <a:dk1>
        <a:srgbClr val="003F62"/>
      </a:dk1>
      <a:lt1>
        <a:srgbClr val="FFFFFF"/>
      </a:lt1>
      <a:dk2>
        <a:srgbClr val="FFFFFF"/>
      </a:dk2>
      <a:lt2>
        <a:srgbClr val="0079AE"/>
      </a:lt2>
      <a:accent1>
        <a:srgbClr val="003F62"/>
      </a:accent1>
      <a:accent2>
        <a:srgbClr val="07AADB"/>
      </a:accent2>
      <a:accent3>
        <a:srgbClr val="E614D7"/>
      </a:accent3>
      <a:accent4>
        <a:srgbClr val="C2B5BF"/>
      </a:accent4>
      <a:accent5>
        <a:srgbClr val="303030"/>
      </a:accent5>
      <a:accent6>
        <a:srgbClr val="E7E7EC"/>
      </a:accent6>
      <a:hlink>
        <a:srgbClr val="8C8C8C"/>
      </a:hlink>
      <a:folHlink>
        <a:srgbClr val="000000"/>
      </a:folHlink>
    </a:clrScheme>
    <a:fontScheme name="Nordic Consulting">
      <a:majorFont>
        <a:latin typeface="Poppins Black"/>
        <a:ea typeface=""/>
        <a:cs typeface=""/>
      </a:majorFont>
      <a:minorFont>
        <a:latin typeface="Poppins Medium"/>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509AAF"/>
        </a:solidFill>
        <a:ln w="12700">
          <a:noFill/>
          <a:round/>
          <a:headEnd/>
          <a:tailEnd/>
        </a:ln>
      </a:spPr>
      <a:bodyPr wrap="square" lIns="0" tIns="0" rIns="0" bIns="0" rtlCol="0" anchor="ctr">
        <a:noAutofit/>
      </a:bodyPr>
      <a:lstStyle>
        <a:defPPr algn="l">
          <a:defRPr dirty="0">
            <a:solidFill>
              <a:schemeClr val="tx2"/>
            </a:solidFill>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M template new colors.pptx" id="{DBF6032C-74CD-4EB8-87D3-6A8A5ADA2D0A}" vid="{6B40890E-3518-4B1D-83AF-0511E7675902}"/>
    </a:ext>
  </a:extLst>
</a:theme>
</file>

<file path=ppt/theme/theme2.xml><?xml version="1.0" encoding="utf-8"?>
<a:theme xmlns:a="http://schemas.openxmlformats.org/drawingml/2006/main" name="Kontortema">
  <a:themeElements>
    <a:clrScheme name="">
      <a:dk1>
        <a:srgbClr val="000066"/>
      </a:dk1>
      <a:lt1>
        <a:srgbClr val="FFFFFF"/>
      </a:lt1>
      <a:dk2>
        <a:srgbClr val="000066"/>
      </a:dk2>
      <a:lt2>
        <a:srgbClr val="000000"/>
      </a:lt2>
      <a:accent1>
        <a:srgbClr val="FFFFFF"/>
      </a:accent1>
      <a:accent2>
        <a:srgbClr val="CDCDCD"/>
      </a:accent2>
      <a:accent3>
        <a:srgbClr val="FFFFFF"/>
      </a:accent3>
      <a:accent4>
        <a:srgbClr val="000056"/>
      </a:accent4>
      <a:accent5>
        <a:srgbClr val="FFFFFF"/>
      </a:accent5>
      <a:accent6>
        <a:srgbClr val="BABABA"/>
      </a:accent6>
      <a:hlink>
        <a:srgbClr val="777777"/>
      </a:hlink>
      <a:folHlink>
        <a:srgbClr val="000066"/>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9ED4FCBFFE2141BEF8D275EC8A6B1F" ma:contentTypeVersion="10" ma:contentTypeDescription="Create a new document." ma:contentTypeScope="" ma:versionID="101d727554ea68a1f860d78d9b6d0120">
  <xsd:schema xmlns:xsd="http://www.w3.org/2001/XMLSchema" xmlns:xs="http://www.w3.org/2001/XMLSchema" xmlns:p="http://schemas.microsoft.com/office/2006/metadata/properties" xmlns:ns2="76bd1358-98cb-4bc6-9b1c-3f3d760f5768" xmlns:ns3="7da3498b-f732-4cff-b8b6-6fbc0cd175e9" targetNamespace="http://schemas.microsoft.com/office/2006/metadata/properties" ma:root="true" ma:fieldsID="e7cae75dc3f9ee10ea3848f6ca6771a9" ns2:_="" ns3:_="">
    <xsd:import namespace="76bd1358-98cb-4bc6-9b1c-3f3d760f5768"/>
    <xsd:import namespace="7da3498b-f732-4cff-b8b6-6fbc0cd175e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bd1358-98cb-4bc6-9b1c-3f3d760f57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a3498b-f732-4cff-b8b6-6fbc0cd175e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4949EB-D460-447E-BD5D-94A2AD359B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bd1358-98cb-4bc6-9b1c-3f3d760f5768"/>
    <ds:schemaRef ds:uri="7da3498b-f732-4cff-b8b6-6fbc0cd175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7512EF-4A56-47BD-98DF-E5835B8FBFFE}">
  <ds:schemaRefs>
    <ds:schemaRef ds:uri="http://purl.org/dc/terms/"/>
    <ds:schemaRef ds:uri="http://schemas.openxmlformats.org/package/2006/metadata/core-properties"/>
    <ds:schemaRef ds:uri="7da3498b-f732-4cff-b8b6-6fbc0cd175e9"/>
    <ds:schemaRef ds:uri="http://schemas.microsoft.com/office/2006/documentManagement/types"/>
    <ds:schemaRef ds:uri="http://schemas.microsoft.com/office/infopath/2007/PartnerControls"/>
    <ds:schemaRef ds:uri="http://purl.org/dc/elements/1.1/"/>
    <ds:schemaRef ds:uri="http://schemas.microsoft.com/office/2006/metadata/properties"/>
    <ds:schemaRef ds:uri="76bd1358-98cb-4bc6-9b1c-3f3d760f5768"/>
    <ds:schemaRef ds:uri="http://www.w3.org/XML/1998/namespace"/>
    <ds:schemaRef ds:uri="http://purl.org/dc/dcmitype/"/>
  </ds:schemaRefs>
</ds:datastoreItem>
</file>

<file path=customXml/itemProps3.xml><?xml version="1.0" encoding="utf-8"?>
<ds:datastoreItem xmlns:ds="http://schemas.openxmlformats.org/officeDocument/2006/customXml" ds:itemID="{3E5A6E97-AAA1-4285-AB20-2CE2C74C06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M template new colors</Template>
  <TotalTime>25125</TotalTime>
  <Words>470</Words>
  <Application>Microsoft Office PowerPoint</Application>
  <PresentationFormat>A4 Paper (210x297 mm)</PresentationFormat>
  <Paragraphs>54</Paragraphs>
  <Slides>5</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Wingdings</vt:lpstr>
      <vt:lpstr>Poppins</vt:lpstr>
      <vt:lpstr>Poppins Medium</vt:lpstr>
      <vt:lpstr>Calibri</vt:lpstr>
      <vt:lpstr>Poppins Black</vt:lpstr>
      <vt:lpstr>Arial</vt:lpstr>
      <vt:lpstr>2010_Basis presentation UK</vt:lpstr>
      <vt:lpstr>think-cell Slide</vt:lpstr>
      <vt:lpstr>PowerPoint Presentation</vt:lpstr>
      <vt:lpstr>Top Business Problems and Their Solutions</vt:lpstr>
      <vt:lpstr>PowerPoint Presentation</vt:lpstr>
      <vt:lpstr>Types of consultants</vt:lpstr>
      <vt:lpstr>What are the chances your business will survive?</vt:lpstr>
    </vt:vector>
  </TitlesOfParts>
  <Company>no-mo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ers Thomsen</dc:creator>
  <cp:lastModifiedBy>Himanshu singh</cp:lastModifiedBy>
  <cp:revision>974</cp:revision>
  <cp:lastPrinted>2016-08-13T15:57:21Z</cp:lastPrinted>
  <dcterms:created xsi:type="dcterms:W3CDTF">2016-08-13T12:33:55Z</dcterms:created>
  <dcterms:modified xsi:type="dcterms:W3CDTF">2021-10-25T05:3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106578</vt:lpwstr>
  </property>
  <property fmtid="{D5CDD505-2E9C-101B-9397-08002B2CF9AE}" pid="3" name="NXPowerLiteVersion">
    <vt:lpwstr>D4.1.1</vt:lpwstr>
  </property>
  <property fmtid="{D5CDD505-2E9C-101B-9397-08002B2CF9AE}" pid="4" name="ContentTypeId">
    <vt:lpwstr>0x010100AB9ED4FCBFFE2141BEF8D275EC8A6B1F</vt:lpwstr>
  </property>
</Properties>
</file>